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256" r:id="rId5"/>
    <p:sldId id="859" r:id="rId6"/>
    <p:sldId id="982" r:id="rId7"/>
    <p:sldId id="858" r:id="rId8"/>
    <p:sldId id="861" r:id="rId9"/>
    <p:sldId id="262" r:id="rId10"/>
    <p:sldId id="881" r:id="rId11"/>
    <p:sldId id="882" r:id="rId12"/>
    <p:sldId id="862" r:id="rId13"/>
    <p:sldId id="863" r:id="rId14"/>
    <p:sldId id="984" r:id="rId15"/>
    <p:sldId id="983" r:id="rId16"/>
    <p:sldId id="864" r:id="rId17"/>
    <p:sldId id="879" r:id="rId18"/>
    <p:sldId id="880" r:id="rId19"/>
    <p:sldId id="872" r:id="rId20"/>
    <p:sldId id="985" r:id="rId21"/>
    <p:sldId id="873" r:id="rId22"/>
    <p:sldId id="874" r:id="rId23"/>
    <p:sldId id="5871" r:id="rId24"/>
    <p:sldId id="875" r:id="rId25"/>
    <p:sldId id="5872" r:id="rId26"/>
    <p:sldId id="876" r:id="rId27"/>
    <p:sldId id="877" r:id="rId28"/>
    <p:sldId id="5870" r:id="rId29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8C0FFC-485B-186D-E1EC-243DBFE5D253}" v="7" dt="2023-01-04T13:13:21.839"/>
    <p1510:client id="{EE69AE78-D663-02AF-2C2B-2EA2ABA57F2A}" v="6" dt="2022-09-22T07:25:52.3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1012" y="-21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e Sarkis" userId="S::elie.sarkis@faculty.gbsb.global::0b2dcb3a-3c3f-4e69-8f03-73c90a38ce22" providerId="AD" clId="Web-{228C0FFC-485B-186D-E1EC-243DBFE5D253}"/>
    <pc:docChg chg="modSld">
      <pc:chgData name="Elie Sarkis" userId="S::elie.sarkis@faculty.gbsb.global::0b2dcb3a-3c3f-4e69-8f03-73c90a38ce22" providerId="AD" clId="Web-{228C0FFC-485B-186D-E1EC-243DBFE5D253}" dt="2023-01-04T13:13:21.839" v="3" actId="1076"/>
      <pc:docMkLst>
        <pc:docMk/>
      </pc:docMkLst>
      <pc:sldChg chg="modSp">
        <pc:chgData name="Elie Sarkis" userId="S::elie.sarkis@faculty.gbsb.global::0b2dcb3a-3c3f-4e69-8f03-73c90a38ce22" providerId="AD" clId="Web-{228C0FFC-485B-186D-E1EC-243DBFE5D253}" dt="2023-01-04T13:13:21.839" v="3" actId="1076"/>
        <pc:sldMkLst>
          <pc:docMk/>
          <pc:sldMk cId="751796680" sldId="256"/>
        </pc:sldMkLst>
        <pc:spChg chg="mod">
          <ac:chgData name="Elie Sarkis" userId="S::elie.sarkis@faculty.gbsb.global::0b2dcb3a-3c3f-4e69-8f03-73c90a38ce22" providerId="AD" clId="Web-{228C0FFC-485B-186D-E1EC-243DBFE5D253}" dt="2023-01-04T13:13:21.839" v="3" actId="1076"/>
          <ac:spMkLst>
            <pc:docMk/>
            <pc:sldMk cId="751796680" sldId="256"/>
            <ac:spMk id="4" creationId="{3A83DEC4-160F-8D45-928E-F904BB56AA6E}"/>
          </ac:spMkLst>
        </pc:spChg>
        <pc:spChg chg="mod">
          <ac:chgData name="Elie Sarkis" userId="S::elie.sarkis@faculty.gbsb.global::0b2dcb3a-3c3f-4e69-8f03-73c90a38ce22" providerId="AD" clId="Web-{228C0FFC-485B-186D-E1EC-243DBFE5D253}" dt="2023-01-04T13:13:17.339" v="2" actId="20577"/>
          <ac:spMkLst>
            <pc:docMk/>
            <pc:sldMk cId="751796680" sldId="256"/>
            <ac:spMk id="5" creationId="{1A12168F-BBB5-C845-B138-AB550A9E1E14}"/>
          </ac:spMkLst>
        </pc:spChg>
      </pc:sldChg>
    </pc:docChg>
  </pc:docChgLst>
  <pc:docChgLst>
    <pc:chgData name="Elie Sarkis" userId="e8826e32-598d-44e8-9752-b7fdf035a46f" providerId="ADAL" clId="{A6C8D7B4-A445-4E69-B778-91712D7DFA6A}"/>
    <pc:docChg chg="undo custSel addSld modSld">
      <pc:chgData name="Elie Sarkis" userId="e8826e32-598d-44e8-9752-b7fdf035a46f" providerId="ADAL" clId="{A6C8D7B4-A445-4E69-B778-91712D7DFA6A}" dt="2022-09-23T06:31:38.584" v="422" actId="404"/>
      <pc:docMkLst>
        <pc:docMk/>
      </pc:docMkLst>
      <pc:sldChg chg="modSp mod modClrScheme chgLayout">
        <pc:chgData name="Elie Sarkis" userId="e8826e32-598d-44e8-9752-b7fdf035a46f" providerId="ADAL" clId="{A6C8D7B4-A445-4E69-B778-91712D7DFA6A}" dt="2022-09-23T06:13:27.552" v="10" actId="1076"/>
        <pc:sldMkLst>
          <pc:docMk/>
          <pc:sldMk cId="751796680" sldId="256"/>
        </pc:sldMkLst>
        <pc:spChg chg="mod">
          <ac:chgData name="Elie Sarkis" userId="e8826e32-598d-44e8-9752-b7fdf035a46f" providerId="ADAL" clId="{A6C8D7B4-A445-4E69-B778-91712D7DFA6A}" dt="2022-09-23T06:13:27.552" v="10" actId="1076"/>
          <ac:spMkLst>
            <pc:docMk/>
            <pc:sldMk cId="751796680" sldId="256"/>
            <ac:spMk id="4" creationId="{3A83DEC4-160F-8D45-928E-F904BB56AA6E}"/>
          </ac:spMkLst>
        </pc:spChg>
        <pc:spChg chg="mod">
          <ac:chgData name="Elie Sarkis" userId="e8826e32-598d-44e8-9752-b7fdf035a46f" providerId="ADAL" clId="{A6C8D7B4-A445-4E69-B778-91712D7DFA6A}" dt="2022-09-23T06:13:19.768" v="8" actId="1076"/>
          <ac:spMkLst>
            <pc:docMk/>
            <pc:sldMk cId="751796680" sldId="256"/>
            <ac:spMk id="5" creationId="{1A12168F-BBB5-C845-B138-AB550A9E1E14}"/>
          </ac:spMkLst>
        </pc:spChg>
      </pc:sldChg>
      <pc:sldChg chg="modSp mod">
        <pc:chgData name="Elie Sarkis" userId="e8826e32-598d-44e8-9752-b7fdf035a46f" providerId="ADAL" clId="{A6C8D7B4-A445-4E69-B778-91712D7DFA6A}" dt="2022-09-23T06:14:35.642" v="28" actId="403"/>
        <pc:sldMkLst>
          <pc:docMk/>
          <pc:sldMk cId="2100816672" sldId="858"/>
        </pc:sldMkLst>
        <pc:spChg chg="mod">
          <ac:chgData name="Elie Sarkis" userId="e8826e32-598d-44e8-9752-b7fdf035a46f" providerId="ADAL" clId="{A6C8D7B4-A445-4E69-B778-91712D7DFA6A}" dt="2022-09-23T06:14:35.642" v="28" actId="403"/>
          <ac:spMkLst>
            <pc:docMk/>
            <pc:sldMk cId="2100816672" sldId="858"/>
            <ac:spMk id="2" creationId="{B51071B7-9A35-4887-AB94-CF231170E501}"/>
          </ac:spMkLst>
        </pc:spChg>
      </pc:sldChg>
      <pc:sldChg chg="modSp mod modClrScheme chgLayout">
        <pc:chgData name="Elie Sarkis" userId="e8826e32-598d-44e8-9752-b7fdf035a46f" providerId="ADAL" clId="{A6C8D7B4-A445-4E69-B778-91712D7DFA6A}" dt="2022-09-23T06:13:44.177" v="16" actId="1076"/>
        <pc:sldMkLst>
          <pc:docMk/>
          <pc:sldMk cId="3586550430" sldId="859"/>
        </pc:sldMkLst>
        <pc:spChg chg="mod">
          <ac:chgData name="Elie Sarkis" userId="e8826e32-598d-44e8-9752-b7fdf035a46f" providerId="ADAL" clId="{A6C8D7B4-A445-4E69-B778-91712D7DFA6A}" dt="2022-09-23T06:13:44.177" v="16" actId="1076"/>
          <ac:spMkLst>
            <pc:docMk/>
            <pc:sldMk cId="3586550430" sldId="859"/>
            <ac:spMk id="3" creationId="{CA06EAFC-F7EC-4781-A1AB-BEA949783134}"/>
          </ac:spMkLst>
        </pc:spChg>
      </pc:sldChg>
      <pc:sldChg chg="modSp mod">
        <pc:chgData name="Elie Sarkis" userId="e8826e32-598d-44e8-9752-b7fdf035a46f" providerId="ADAL" clId="{A6C8D7B4-A445-4E69-B778-91712D7DFA6A}" dt="2022-09-23T06:14:42.958" v="30" actId="1076"/>
        <pc:sldMkLst>
          <pc:docMk/>
          <pc:sldMk cId="48510612" sldId="862"/>
        </pc:sldMkLst>
        <pc:spChg chg="mod">
          <ac:chgData name="Elie Sarkis" userId="e8826e32-598d-44e8-9752-b7fdf035a46f" providerId="ADAL" clId="{A6C8D7B4-A445-4E69-B778-91712D7DFA6A}" dt="2022-09-23T06:14:42.958" v="30" actId="1076"/>
          <ac:spMkLst>
            <pc:docMk/>
            <pc:sldMk cId="48510612" sldId="862"/>
            <ac:spMk id="2" creationId="{B51071B7-9A35-4887-AB94-CF231170E501}"/>
          </ac:spMkLst>
        </pc:spChg>
      </pc:sldChg>
      <pc:sldChg chg="modSp mod">
        <pc:chgData name="Elie Sarkis" userId="e8826e32-598d-44e8-9752-b7fdf035a46f" providerId="ADAL" clId="{A6C8D7B4-A445-4E69-B778-91712D7DFA6A}" dt="2022-09-23T06:14:48.377" v="32" actId="207"/>
        <pc:sldMkLst>
          <pc:docMk/>
          <pc:sldMk cId="2671328549" sldId="863"/>
        </pc:sldMkLst>
        <pc:spChg chg="mod">
          <ac:chgData name="Elie Sarkis" userId="e8826e32-598d-44e8-9752-b7fdf035a46f" providerId="ADAL" clId="{A6C8D7B4-A445-4E69-B778-91712D7DFA6A}" dt="2022-09-23T06:14:48.377" v="32" actId="207"/>
          <ac:spMkLst>
            <pc:docMk/>
            <pc:sldMk cId="2671328549" sldId="863"/>
            <ac:spMk id="2" creationId="{B51071B7-9A35-4887-AB94-CF231170E501}"/>
          </ac:spMkLst>
        </pc:spChg>
      </pc:sldChg>
      <pc:sldChg chg="modSp mod">
        <pc:chgData name="Elie Sarkis" userId="e8826e32-598d-44e8-9752-b7fdf035a46f" providerId="ADAL" clId="{A6C8D7B4-A445-4E69-B778-91712D7DFA6A}" dt="2022-09-23T06:16:11.862" v="54" actId="14100"/>
        <pc:sldMkLst>
          <pc:docMk/>
          <pc:sldMk cId="1496272585" sldId="864"/>
        </pc:sldMkLst>
        <pc:spChg chg="mod">
          <ac:chgData name="Elie Sarkis" userId="e8826e32-598d-44e8-9752-b7fdf035a46f" providerId="ADAL" clId="{A6C8D7B4-A445-4E69-B778-91712D7DFA6A}" dt="2022-09-23T06:16:02.456" v="51" actId="1076"/>
          <ac:spMkLst>
            <pc:docMk/>
            <pc:sldMk cId="1496272585" sldId="864"/>
            <ac:spMk id="2" creationId="{B51071B7-9A35-4887-AB94-CF231170E501}"/>
          </ac:spMkLst>
        </pc:spChg>
        <pc:spChg chg="mod">
          <ac:chgData name="Elie Sarkis" userId="e8826e32-598d-44e8-9752-b7fdf035a46f" providerId="ADAL" clId="{A6C8D7B4-A445-4E69-B778-91712D7DFA6A}" dt="2022-09-23T06:16:11.862" v="54" actId="14100"/>
          <ac:spMkLst>
            <pc:docMk/>
            <pc:sldMk cId="1496272585" sldId="864"/>
            <ac:spMk id="7" creationId="{72C0FFDD-9232-4198-AB65-343AEE217B59}"/>
          </ac:spMkLst>
        </pc:spChg>
      </pc:sldChg>
      <pc:sldChg chg="delSp modSp mod modClrScheme chgLayout">
        <pc:chgData name="Elie Sarkis" userId="e8826e32-598d-44e8-9752-b7fdf035a46f" providerId="ADAL" clId="{A6C8D7B4-A445-4E69-B778-91712D7DFA6A}" dt="2022-09-23T06:20:09.697" v="113" actId="1076"/>
        <pc:sldMkLst>
          <pc:docMk/>
          <pc:sldMk cId="1171995577" sldId="872"/>
        </pc:sldMkLst>
        <pc:spChg chg="mod ord">
          <ac:chgData name="Elie Sarkis" userId="e8826e32-598d-44e8-9752-b7fdf035a46f" providerId="ADAL" clId="{A6C8D7B4-A445-4E69-B778-91712D7DFA6A}" dt="2022-09-23T06:19:56.243" v="108" actId="1076"/>
          <ac:spMkLst>
            <pc:docMk/>
            <pc:sldMk cId="1171995577" sldId="872"/>
            <ac:spMk id="2" creationId="{B51071B7-9A35-4887-AB94-CF231170E501}"/>
          </ac:spMkLst>
        </pc:spChg>
        <pc:spChg chg="del">
          <ac:chgData name="Elie Sarkis" userId="e8826e32-598d-44e8-9752-b7fdf035a46f" providerId="ADAL" clId="{A6C8D7B4-A445-4E69-B778-91712D7DFA6A}" dt="2022-09-23T06:16:41.598" v="65" actId="21"/>
          <ac:spMkLst>
            <pc:docMk/>
            <pc:sldMk cId="1171995577" sldId="872"/>
            <ac:spMk id="6" creationId="{BB78263E-EAD2-4A79-A30D-4B30BE570563}"/>
          </ac:spMkLst>
        </pc:spChg>
        <pc:spChg chg="mod ord">
          <ac:chgData name="Elie Sarkis" userId="e8826e32-598d-44e8-9752-b7fdf035a46f" providerId="ADAL" clId="{A6C8D7B4-A445-4E69-B778-91712D7DFA6A}" dt="2022-09-23T06:20:06.526" v="112" actId="1076"/>
          <ac:spMkLst>
            <pc:docMk/>
            <pc:sldMk cId="1171995577" sldId="872"/>
            <ac:spMk id="7" creationId="{72C0FFDD-9232-4198-AB65-343AEE217B59}"/>
          </ac:spMkLst>
        </pc:spChg>
        <pc:spChg chg="mod">
          <ac:chgData name="Elie Sarkis" userId="e8826e32-598d-44e8-9752-b7fdf035a46f" providerId="ADAL" clId="{A6C8D7B4-A445-4E69-B778-91712D7DFA6A}" dt="2022-09-23T06:20:09.697" v="113" actId="1076"/>
          <ac:spMkLst>
            <pc:docMk/>
            <pc:sldMk cId="1171995577" sldId="872"/>
            <ac:spMk id="8" creationId="{9DC7F1E4-AF5D-4DF1-A5D4-8365E7CFB5F4}"/>
          </ac:spMkLst>
        </pc:spChg>
        <pc:spChg chg="del">
          <ac:chgData name="Elie Sarkis" userId="e8826e32-598d-44e8-9752-b7fdf035a46f" providerId="ADAL" clId="{A6C8D7B4-A445-4E69-B778-91712D7DFA6A}" dt="2022-09-23T06:16:41.598" v="65" actId="21"/>
          <ac:spMkLst>
            <pc:docMk/>
            <pc:sldMk cId="1171995577" sldId="872"/>
            <ac:spMk id="9" creationId="{EA73B230-1E53-480E-9782-BDB86A16A51A}"/>
          </ac:spMkLst>
        </pc:spChg>
        <pc:picChg chg="mod">
          <ac:chgData name="Elie Sarkis" userId="e8826e32-598d-44e8-9752-b7fdf035a46f" providerId="ADAL" clId="{A6C8D7B4-A445-4E69-B778-91712D7DFA6A}" dt="2022-09-23T06:19:47.435" v="105" actId="1076"/>
          <ac:picMkLst>
            <pc:docMk/>
            <pc:sldMk cId="1171995577" sldId="872"/>
            <ac:picMk id="4" creationId="{45891ECC-2301-471F-83D4-FEC278D24D25}"/>
          </ac:picMkLst>
        </pc:picChg>
        <pc:picChg chg="del">
          <ac:chgData name="Elie Sarkis" userId="e8826e32-598d-44e8-9752-b7fdf035a46f" providerId="ADAL" clId="{A6C8D7B4-A445-4E69-B778-91712D7DFA6A}" dt="2022-09-23T06:16:41.598" v="65" actId="21"/>
          <ac:picMkLst>
            <pc:docMk/>
            <pc:sldMk cId="1171995577" sldId="872"/>
            <ac:picMk id="5" creationId="{D7B103C5-A5B8-44C8-88A3-165E69AC3CFE}"/>
          </ac:picMkLst>
        </pc:picChg>
      </pc:sldChg>
      <pc:sldChg chg="modSp mod modClrScheme chgLayout">
        <pc:chgData name="Elie Sarkis" userId="e8826e32-598d-44e8-9752-b7fdf035a46f" providerId="ADAL" clId="{A6C8D7B4-A445-4E69-B778-91712D7DFA6A}" dt="2022-09-23T06:21:45.894" v="157" actId="1076"/>
        <pc:sldMkLst>
          <pc:docMk/>
          <pc:sldMk cId="1749783448" sldId="873"/>
        </pc:sldMkLst>
        <pc:spChg chg="mod ord">
          <ac:chgData name="Elie Sarkis" userId="e8826e32-598d-44e8-9752-b7fdf035a46f" providerId="ADAL" clId="{A6C8D7B4-A445-4E69-B778-91712D7DFA6A}" dt="2022-09-23T06:21:45.894" v="157" actId="1076"/>
          <ac:spMkLst>
            <pc:docMk/>
            <pc:sldMk cId="1749783448" sldId="873"/>
            <ac:spMk id="2" creationId="{B51071B7-9A35-4887-AB94-CF231170E501}"/>
          </ac:spMkLst>
        </pc:spChg>
        <pc:spChg chg="mod ord">
          <ac:chgData name="Elie Sarkis" userId="e8826e32-598d-44e8-9752-b7fdf035a46f" providerId="ADAL" clId="{A6C8D7B4-A445-4E69-B778-91712D7DFA6A}" dt="2022-09-23T06:21:31.179" v="151" actId="113"/>
          <ac:spMkLst>
            <pc:docMk/>
            <pc:sldMk cId="1749783448" sldId="873"/>
            <ac:spMk id="7" creationId="{72C0FFDD-9232-4198-AB65-343AEE217B59}"/>
          </ac:spMkLst>
        </pc:spChg>
        <pc:spChg chg="mod">
          <ac:chgData name="Elie Sarkis" userId="e8826e32-598d-44e8-9752-b7fdf035a46f" providerId="ADAL" clId="{A6C8D7B4-A445-4E69-B778-91712D7DFA6A}" dt="2022-09-23T06:21:24.022" v="149" actId="20577"/>
          <ac:spMkLst>
            <pc:docMk/>
            <pc:sldMk cId="1749783448" sldId="873"/>
            <ac:spMk id="11" creationId="{5C1EEAC6-EB79-47D6-BFF1-79E41F96E62C}"/>
          </ac:spMkLst>
        </pc:spChg>
        <pc:picChg chg="mod">
          <ac:chgData name="Elie Sarkis" userId="e8826e32-598d-44e8-9752-b7fdf035a46f" providerId="ADAL" clId="{A6C8D7B4-A445-4E69-B778-91712D7DFA6A}" dt="2022-09-23T06:21:33.267" v="152" actId="1076"/>
          <ac:picMkLst>
            <pc:docMk/>
            <pc:sldMk cId="1749783448" sldId="873"/>
            <ac:picMk id="10" creationId="{808016B1-7B7A-427A-A95E-156892B13132}"/>
          </ac:picMkLst>
        </pc:picChg>
      </pc:sldChg>
      <pc:sldChg chg="modSp mod modClrScheme chgLayout">
        <pc:chgData name="Elie Sarkis" userId="e8826e32-598d-44e8-9752-b7fdf035a46f" providerId="ADAL" clId="{A6C8D7B4-A445-4E69-B778-91712D7DFA6A}" dt="2022-09-23T06:22:12.720" v="170" actId="1076"/>
        <pc:sldMkLst>
          <pc:docMk/>
          <pc:sldMk cId="3519824127" sldId="874"/>
        </pc:sldMkLst>
        <pc:spChg chg="mod ord">
          <ac:chgData name="Elie Sarkis" userId="e8826e32-598d-44e8-9752-b7fdf035a46f" providerId="ADAL" clId="{A6C8D7B4-A445-4E69-B778-91712D7DFA6A}" dt="2022-09-23T06:22:12.720" v="170" actId="1076"/>
          <ac:spMkLst>
            <pc:docMk/>
            <pc:sldMk cId="3519824127" sldId="874"/>
            <ac:spMk id="2" creationId="{B51071B7-9A35-4887-AB94-CF231170E501}"/>
          </ac:spMkLst>
        </pc:spChg>
        <pc:spChg chg="mod">
          <ac:chgData name="Elie Sarkis" userId="e8826e32-598d-44e8-9752-b7fdf035a46f" providerId="ADAL" clId="{A6C8D7B4-A445-4E69-B778-91712D7DFA6A}" dt="2022-09-23T06:22:10.451" v="169" actId="1076"/>
          <ac:spMkLst>
            <pc:docMk/>
            <pc:sldMk cId="3519824127" sldId="874"/>
            <ac:spMk id="11" creationId="{5C1EEAC6-EB79-47D6-BFF1-79E41F96E62C}"/>
          </ac:spMkLst>
        </pc:spChg>
        <pc:picChg chg="mod">
          <ac:chgData name="Elie Sarkis" userId="e8826e32-598d-44e8-9752-b7fdf035a46f" providerId="ADAL" clId="{A6C8D7B4-A445-4E69-B778-91712D7DFA6A}" dt="2022-09-23T06:22:06.958" v="168" actId="14100"/>
          <ac:picMkLst>
            <pc:docMk/>
            <pc:sldMk cId="3519824127" sldId="874"/>
            <ac:picMk id="6" creationId="{9E669F4C-BD36-4898-8B84-AA6190333226}"/>
          </ac:picMkLst>
        </pc:picChg>
      </pc:sldChg>
      <pc:sldChg chg="modSp mod modClrScheme chgLayout">
        <pc:chgData name="Elie Sarkis" userId="e8826e32-598d-44e8-9752-b7fdf035a46f" providerId="ADAL" clId="{A6C8D7B4-A445-4E69-B778-91712D7DFA6A}" dt="2022-09-23T06:22:37.479" v="181" actId="1076"/>
        <pc:sldMkLst>
          <pc:docMk/>
          <pc:sldMk cId="2210674697" sldId="875"/>
        </pc:sldMkLst>
        <pc:spChg chg="mod ord">
          <ac:chgData name="Elie Sarkis" userId="e8826e32-598d-44e8-9752-b7fdf035a46f" providerId="ADAL" clId="{A6C8D7B4-A445-4E69-B778-91712D7DFA6A}" dt="2022-09-23T06:22:26.185" v="174" actId="1076"/>
          <ac:spMkLst>
            <pc:docMk/>
            <pc:sldMk cId="2210674697" sldId="875"/>
            <ac:spMk id="2" creationId="{B51071B7-9A35-4887-AB94-CF231170E501}"/>
          </ac:spMkLst>
        </pc:spChg>
        <pc:spChg chg="mod">
          <ac:chgData name="Elie Sarkis" userId="e8826e32-598d-44e8-9752-b7fdf035a46f" providerId="ADAL" clId="{A6C8D7B4-A445-4E69-B778-91712D7DFA6A}" dt="2022-09-23T06:22:37.479" v="181" actId="1076"/>
          <ac:spMkLst>
            <pc:docMk/>
            <pc:sldMk cId="2210674697" sldId="875"/>
            <ac:spMk id="11" creationId="{5C1EEAC6-EB79-47D6-BFF1-79E41F96E62C}"/>
          </ac:spMkLst>
        </pc:spChg>
        <pc:picChg chg="mod">
          <ac:chgData name="Elie Sarkis" userId="e8826e32-598d-44e8-9752-b7fdf035a46f" providerId="ADAL" clId="{A6C8D7B4-A445-4E69-B778-91712D7DFA6A}" dt="2022-09-23T06:22:35.485" v="180" actId="1076"/>
          <ac:picMkLst>
            <pc:docMk/>
            <pc:sldMk cId="2210674697" sldId="875"/>
            <ac:picMk id="5" creationId="{C7980BA0-CF7E-4A53-AAEE-CA95D2EA68B7}"/>
          </ac:picMkLst>
        </pc:picChg>
      </pc:sldChg>
      <pc:sldChg chg="modSp mod modClrScheme chgLayout">
        <pc:chgData name="Elie Sarkis" userId="e8826e32-598d-44e8-9752-b7fdf035a46f" providerId="ADAL" clId="{A6C8D7B4-A445-4E69-B778-91712D7DFA6A}" dt="2022-09-23T06:23:05.765" v="188" actId="14100"/>
        <pc:sldMkLst>
          <pc:docMk/>
          <pc:sldMk cId="2848473929" sldId="876"/>
        </pc:sldMkLst>
        <pc:spChg chg="mod ord">
          <ac:chgData name="Elie Sarkis" userId="e8826e32-598d-44e8-9752-b7fdf035a46f" providerId="ADAL" clId="{A6C8D7B4-A445-4E69-B778-91712D7DFA6A}" dt="2022-09-23T06:22:53.163" v="185" actId="1076"/>
          <ac:spMkLst>
            <pc:docMk/>
            <pc:sldMk cId="2848473929" sldId="876"/>
            <ac:spMk id="2" creationId="{B51071B7-9A35-4887-AB94-CF231170E501}"/>
          </ac:spMkLst>
        </pc:spChg>
        <pc:spChg chg="mod">
          <ac:chgData name="Elie Sarkis" userId="e8826e32-598d-44e8-9752-b7fdf035a46f" providerId="ADAL" clId="{A6C8D7B4-A445-4E69-B778-91712D7DFA6A}" dt="2022-09-23T06:23:03.794" v="187" actId="1076"/>
          <ac:spMkLst>
            <pc:docMk/>
            <pc:sldMk cId="2848473929" sldId="876"/>
            <ac:spMk id="7" creationId="{22CC4A63-A8D5-4327-8681-D69AC53F2CAF}"/>
          </ac:spMkLst>
        </pc:spChg>
        <pc:spChg chg="mod">
          <ac:chgData name="Elie Sarkis" userId="e8826e32-598d-44e8-9752-b7fdf035a46f" providerId="ADAL" clId="{A6C8D7B4-A445-4E69-B778-91712D7DFA6A}" dt="2022-09-23T06:23:03.794" v="187" actId="1076"/>
          <ac:spMkLst>
            <pc:docMk/>
            <pc:sldMk cId="2848473929" sldId="876"/>
            <ac:spMk id="11" creationId="{5C1EEAC6-EB79-47D6-BFF1-79E41F96E62C}"/>
          </ac:spMkLst>
        </pc:spChg>
        <pc:picChg chg="mod">
          <ac:chgData name="Elie Sarkis" userId="e8826e32-598d-44e8-9752-b7fdf035a46f" providerId="ADAL" clId="{A6C8D7B4-A445-4E69-B778-91712D7DFA6A}" dt="2022-09-23T06:23:05.765" v="188" actId="14100"/>
          <ac:picMkLst>
            <pc:docMk/>
            <pc:sldMk cId="2848473929" sldId="876"/>
            <ac:picMk id="6" creationId="{3CDCD994-135E-42E8-B09B-E35BD24F55FA}"/>
          </ac:picMkLst>
        </pc:picChg>
      </pc:sldChg>
      <pc:sldChg chg="modSp mod modClrScheme chgLayout">
        <pc:chgData name="Elie Sarkis" userId="e8826e32-598d-44e8-9752-b7fdf035a46f" providerId="ADAL" clId="{A6C8D7B4-A445-4E69-B778-91712D7DFA6A}" dt="2022-09-23T06:23:38.989" v="200" actId="113"/>
        <pc:sldMkLst>
          <pc:docMk/>
          <pc:sldMk cId="4230129402" sldId="877"/>
        </pc:sldMkLst>
        <pc:spChg chg="mod">
          <ac:chgData name="Elie Sarkis" userId="e8826e32-598d-44e8-9752-b7fdf035a46f" providerId="ADAL" clId="{A6C8D7B4-A445-4E69-B778-91712D7DFA6A}" dt="2022-09-23T06:23:38.989" v="200" actId="113"/>
          <ac:spMkLst>
            <pc:docMk/>
            <pc:sldMk cId="4230129402" sldId="877"/>
            <ac:spMk id="3" creationId="{CA06EAFC-F7EC-4781-A1AB-BEA949783134}"/>
          </ac:spMkLst>
        </pc:spChg>
      </pc:sldChg>
      <pc:sldChg chg="modSp mod">
        <pc:chgData name="Elie Sarkis" userId="e8826e32-598d-44e8-9752-b7fdf035a46f" providerId="ADAL" clId="{A6C8D7B4-A445-4E69-B778-91712D7DFA6A}" dt="2022-09-23T06:14:25.578" v="27" actId="1076"/>
        <pc:sldMkLst>
          <pc:docMk/>
          <pc:sldMk cId="1803714898" sldId="881"/>
        </pc:sldMkLst>
        <pc:spChg chg="mod">
          <ac:chgData name="Elie Sarkis" userId="e8826e32-598d-44e8-9752-b7fdf035a46f" providerId="ADAL" clId="{A6C8D7B4-A445-4E69-B778-91712D7DFA6A}" dt="2022-09-23T06:14:16.686" v="24" actId="113"/>
          <ac:spMkLst>
            <pc:docMk/>
            <pc:sldMk cId="1803714898" sldId="881"/>
            <ac:spMk id="2" creationId="{B51071B7-9A35-4887-AB94-CF231170E501}"/>
          </ac:spMkLst>
        </pc:spChg>
        <pc:spChg chg="mod">
          <ac:chgData name="Elie Sarkis" userId="e8826e32-598d-44e8-9752-b7fdf035a46f" providerId="ADAL" clId="{A6C8D7B4-A445-4E69-B778-91712D7DFA6A}" dt="2022-09-23T06:14:25.578" v="27" actId="1076"/>
          <ac:spMkLst>
            <pc:docMk/>
            <pc:sldMk cId="1803714898" sldId="881"/>
            <ac:spMk id="9" creationId="{C7E40276-AEB2-4248-9752-21405875D100}"/>
          </ac:spMkLst>
        </pc:spChg>
      </pc:sldChg>
      <pc:sldChg chg="modSp mod">
        <pc:chgData name="Elie Sarkis" userId="e8826e32-598d-44e8-9752-b7fdf035a46f" providerId="ADAL" clId="{A6C8D7B4-A445-4E69-B778-91712D7DFA6A}" dt="2022-09-23T06:15:12.358" v="48" actId="113"/>
        <pc:sldMkLst>
          <pc:docMk/>
          <pc:sldMk cId="1965759098" sldId="983"/>
        </pc:sldMkLst>
        <pc:spChg chg="mod">
          <ac:chgData name="Elie Sarkis" userId="e8826e32-598d-44e8-9752-b7fdf035a46f" providerId="ADAL" clId="{A6C8D7B4-A445-4E69-B778-91712D7DFA6A}" dt="2022-09-23T06:15:12.358" v="48" actId="113"/>
          <ac:spMkLst>
            <pc:docMk/>
            <pc:sldMk cId="1965759098" sldId="983"/>
            <ac:spMk id="2" creationId="{B51071B7-9A35-4887-AB94-CF231170E501}"/>
          </ac:spMkLst>
        </pc:spChg>
      </pc:sldChg>
      <pc:sldChg chg="modSp mod">
        <pc:chgData name="Elie Sarkis" userId="e8826e32-598d-44e8-9752-b7fdf035a46f" providerId="ADAL" clId="{A6C8D7B4-A445-4E69-B778-91712D7DFA6A}" dt="2022-09-23T06:14:59.828" v="44" actId="20577"/>
        <pc:sldMkLst>
          <pc:docMk/>
          <pc:sldMk cId="3920740837" sldId="984"/>
        </pc:sldMkLst>
        <pc:spChg chg="mod">
          <ac:chgData name="Elie Sarkis" userId="e8826e32-598d-44e8-9752-b7fdf035a46f" providerId="ADAL" clId="{A6C8D7B4-A445-4E69-B778-91712D7DFA6A}" dt="2022-09-23T06:14:59.828" v="44" actId="20577"/>
          <ac:spMkLst>
            <pc:docMk/>
            <pc:sldMk cId="3920740837" sldId="984"/>
            <ac:spMk id="2" creationId="{B51071B7-9A35-4887-AB94-CF231170E501}"/>
          </ac:spMkLst>
        </pc:spChg>
      </pc:sldChg>
      <pc:sldChg chg="addSp delSp modSp add mod modClrScheme chgLayout">
        <pc:chgData name="Elie Sarkis" userId="e8826e32-598d-44e8-9752-b7fdf035a46f" providerId="ADAL" clId="{A6C8D7B4-A445-4E69-B778-91712D7DFA6A}" dt="2022-09-23T06:20:27.200" v="116" actId="14100"/>
        <pc:sldMkLst>
          <pc:docMk/>
          <pc:sldMk cId="3799752754" sldId="985"/>
        </pc:sldMkLst>
        <pc:spChg chg="mod ord">
          <ac:chgData name="Elie Sarkis" userId="e8826e32-598d-44e8-9752-b7fdf035a46f" providerId="ADAL" clId="{A6C8D7B4-A445-4E69-B778-91712D7DFA6A}" dt="2022-09-23T06:20:27.200" v="116" actId="14100"/>
          <ac:spMkLst>
            <pc:docMk/>
            <pc:sldMk cId="3799752754" sldId="985"/>
            <ac:spMk id="2" creationId="{B51071B7-9A35-4887-AB94-CF231170E501}"/>
          </ac:spMkLst>
        </pc:spChg>
        <pc:spChg chg="add mod">
          <ac:chgData name="Elie Sarkis" userId="e8826e32-598d-44e8-9752-b7fdf035a46f" providerId="ADAL" clId="{A6C8D7B4-A445-4E69-B778-91712D7DFA6A}" dt="2022-09-23T06:20:24.253" v="115" actId="1076"/>
          <ac:spMkLst>
            <pc:docMk/>
            <pc:sldMk cId="3799752754" sldId="985"/>
            <ac:spMk id="5" creationId="{F59B54D5-A835-6FB1-B6B6-C9BF6285F268}"/>
          </ac:spMkLst>
        </pc:spChg>
        <pc:spChg chg="add mod">
          <ac:chgData name="Elie Sarkis" userId="e8826e32-598d-44e8-9752-b7fdf035a46f" providerId="ADAL" clId="{A6C8D7B4-A445-4E69-B778-91712D7DFA6A}" dt="2022-09-23T06:20:24.253" v="115" actId="1076"/>
          <ac:spMkLst>
            <pc:docMk/>
            <pc:sldMk cId="3799752754" sldId="985"/>
            <ac:spMk id="6" creationId="{9ACE836B-8186-9C70-9F2B-2B5478BDE4B2}"/>
          </ac:spMkLst>
        </pc:spChg>
        <pc:spChg chg="del">
          <ac:chgData name="Elie Sarkis" userId="e8826e32-598d-44e8-9752-b7fdf035a46f" providerId="ADAL" clId="{A6C8D7B4-A445-4E69-B778-91712D7DFA6A}" dt="2022-09-23T06:16:46.577" v="68" actId="478"/>
          <ac:spMkLst>
            <pc:docMk/>
            <pc:sldMk cId="3799752754" sldId="985"/>
            <ac:spMk id="7" creationId="{72C0FFDD-9232-4198-AB65-343AEE217B59}"/>
          </ac:spMkLst>
        </pc:spChg>
        <pc:spChg chg="del">
          <ac:chgData name="Elie Sarkis" userId="e8826e32-598d-44e8-9752-b7fdf035a46f" providerId="ADAL" clId="{A6C8D7B4-A445-4E69-B778-91712D7DFA6A}" dt="2022-09-23T06:16:47.618" v="69" actId="478"/>
          <ac:spMkLst>
            <pc:docMk/>
            <pc:sldMk cId="3799752754" sldId="985"/>
            <ac:spMk id="8" creationId="{9DC7F1E4-AF5D-4DF1-A5D4-8365E7CFB5F4}"/>
          </ac:spMkLst>
        </pc:spChg>
        <pc:picChg chg="add mod">
          <ac:chgData name="Elie Sarkis" userId="e8826e32-598d-44e8-9752-b7fdf035a46f" providerId="ADAL" clId="{A6C8D7B4-A445-4E69-B778-91712D7DFA6A}" dt="2022-09-23T06:20:24.253" v="115" actId="1076"/>
          <ac:picMkLst>
            <pc:docMk/>
            <pc:sldMk cId="3799752754" sldId="985"/>
            <ac:picMk id="3" creationId="{1AC1DE72-2B75-8DA0-5641-83186D68BDF1}"/>
          </ac:picMkLst>
        </pc:picChg>
        <pc:picChg chg="del">
          <ac:chgData name="Elie Sarkis" userId="e8826e32-598d-44e8-9752-b7fdf035a46f" providerId="ADAL" clId="{A6C8D7B4-A445-4E69-B778-91712D7DFA6A}" dt="2022-09-23T06:16:45.109" v="67" actId="478"/>
          <ac:picMkLst>
            <pc:docMk/>
            <pc:sldMk cId="3799752754" sldId="985"/>
            <ac:picMk id="4" creationId="{45891ECC-2301-471F-83D4-FEC278D24D25}"/>
          </ac:picMkLst>
        </pc:picChg>
      </pc:sldChg>
      <pc:sldChg chg="add">
        <pc:chgData name="Elie Sarkis" userId="e8826e32-598d-44e8-9752-b7fdf035a46f" providerId="ADAL" clId="{A6C8D7B4-A445-4E69-B778-91712D7DFA6A}" dt="2022-09-23T06:23:56.846" v="201"/>
        <pc:sldMkLst>
          <pc:docMk/>
          <pc:sldMk cId="2101457434" sldId="5870"/>
        </pc:sldMkLst>
      </pc:sldChg>
      <pc:sldChg chg="addSp delSp modSp add mod">
        <pc:chgData name="Elie Sarkis" userId="e8826e32-598d-44e8-9752-b7fdf035a46f" providerId="ADAL" clId="{A6C8D7B4-A445-4E69-B778-91712D7DFA6A}" dt="2022-09-23T06:30:26.986" v="389" actId="1076"/>
        <pc:sldMkLst>
          <pc:docMk/>
          <pc:sldMk cId="40986191" sldId="5871"/>
        </pc:sldMkLst>
        <pc:spChg chg="del">
          <ac:chgData name="Elie Sarkis" userId="e8826e32-598d-44e8-9752-b7fdf035a46f" providerId="ADAL" clId="{A6C8D7B4-A445-4E69-B778-91712D7DFA6A}" dt="2022-09-23T06:27:35.467" v="205" actId="478"/>
          <ac:spMkLst>
            <pc:docMk/>
            <pc:sldMk cId="40986191" sldId="5871"/>
            <ac:spMk id="2" creationId="{B51071B7-9A35-4887-AB94-CF231170E501}"/>
          </ac:spMkLst>
        </pc:spChg>
        <pc:spChg chg="add del mod">
          <ac:chgData name="Elie Sarkis" userId="e8826e32-598d-44e8-9752-b7fdf035a46f" providerId="ADAL" clId="{A6C8D7B4-A445-4E69-B778-91712D7DFA6A}" dt="2022-09-23T06:30:10.835" v="381" actId="478"/>
          <ac:spMkLst>
            <pc:docMk/>
            <pc:sldMk cId="40986191" sldId="5871"/>
            <ac:spMk id="3" creationId="{2BAFEAF3-0700-BEDA-53F1-D2468C80F756}"/>
          </ac:spMkLst>
        </pc:spChg>
        <pc:spChg chg="add del mod">
          <ac:chgData name="Elie Sarkis" userId="e8826e32-598d-44e8-9752-b7fdf035a46f" providerId="ADAL" clId="{A6C8D7B4-A445-4E69-B778-91712D7DFA6A}" dt="2022-09-23T06:30:10.851" v="383"/>
          <ac:spMkLst>
            <pc:docMk/>
            <pc:sldMk cId="40986191" sldId="5871"/>
            <ac:spMk id="4" creationId="{3F3C720C-5FF1-1A77-217C-B5C72215A8F9}"/>
          </ac:spMkLst>
        </pc:spChg>
        <pc:spChg chg="add mod">
          <ac:chgData name="Elie Sarkis" userId="e8826e32-598d-44e8-9752-b7fdf035a46f" providerId="ADAL" clId="{A6C8D7B4-A445-4E69-B778-91712D7DFA6A}" dt="2022-09-23T06:30:20.625" v="387" actId="1076"/>
          <ac:spMkLst>
            <pc:docMk/>
            <pc:sldMk cId="40986191" sldId="5871"/>
            <ac:spMk id="8" creationId="{FC5891D8-1D08-02CC-E721-779DE0D39850}"/>
          </ac:spMkLst>
        </pc:spChg>
        <pc:spChg chg="add mod">
          <ac:chgData name="Elie Sarkis" userId="e8826e32-598d-44e8-9752-b7fdf035a46f" providerId="ADAL" clId="{A6C8D7B4-A445-4E69-B778-91712D7DFA6A}" dt="2022-09-23T06:30:26.986" v="389" actId="1076"/>
          <ac:spMkLst>
            <pc:docMk/>
            <pc:sldMk cId="40986191" sldId="5871"/>
            <ac:spMk id="10" creationId="{7E103C2D-931D-9195-5449-C28CC2C6DF14}"/>
          </ac:spMkLst>
        </pc:spChg>
        <pc:spChg chg="del">
          <ac:chgData name="Elie Sarkis" userId="e8826e32-598d-44e8-9752-b7fdf035a46f" providerId="ADAL" clId="{A6C8D7B4-A445-4E69-B778-91712D7DFA6A}" dt="2022-09-23T06:27:34.015" v="204" actId="478"/>
          <ac:spMkLst>
            <pc:docMk/>
            <pc:sldMk cId="40986191" sldId="5871"/>
            <ac:spMk id="11" creationId="{5C1EEAC6-EB79-47D6-BFF1-79E41F96E62C}"/>
          </ac:spMkLst>
        </pc:spChg>
        <pc:picChg chg="add mod">
          <ac:chgData name="Elie Sarkis" userId="e8826e32-598d-44e8-9752-b7fdf035a46f" providerId="ADAL" clId="{A6C8D7B4-A445-4E69-B778-91712D7DFA6A}" dt="2022-09-23T06:30:22.152" v="388" actId="1076"/>
          <ac:picMkLst>
            <pc:docMk/>
            <pc:sldMk cId="40986191" sldId="5871"/>
            <ac:picMk id="5" creationId="{562A19F0-1AD9-B4D6-AF14-8C433C7211FD}"/>
          </ac:picMkLst>
        </pc:picChg>
        <pc:picChg chg="del">
          <ac:chgData name="Elie Sarkis" userId="e8826e32-598d-44e8-9752-b7fdf035a46f" providerId="ADAL" clId="{A6C8D7B4-A445-4E69-B778-91712D7DFA6A}" dt="2022-09-23T06:27:32.389" v="203" actId="478"/>
          <ac:picMkLst>
            <pc:docMk/>
            <pc:sldMk cId="40986191" sldId="5871"/>
            <ac:picMk id="6" creationId="{9E669F4C-BD36-4898-8B84-AA6190333226}"/>
          </ac:picMkLst>
        </pc:picChg>
      </pc:sldChg>
      <pc:sldChg chg="addSp delSp modSp add mod">
        <pc:chgData name="Elie Sarkis" userId="e8826e32-598d-44e8-9752-b7fdf035a46f" providerId="ADAL" clId="{A6C8D7B4-A445-4E69-B778-91712D7DFA6A}" dt="2022-09-23T06:31:38.584" v="422" actId="404"/>
        <pc:sldMkLst>
          <pc:docMk/>
          <pc:sldMk cId="3397548192" sldId="5872"/>
        </pc:sldMkLst>
        <pc:spChg chg="del mod">
          <ac:chgData name="Elie Sarkis" userId="e8826e32-598d-44e8-9752-b7fdf035a46f" providerId="ADAL" clId="{A6C8D7B4-A445-4E69-B778-91712D7DFA6A}" dt="2022-09-23T06:31:01.909" v="396" actId="478"/>
          <ac:spMkLst>
            <pc:docMk/>
            <pc:sldMk cId="3397548192" sldId="5872"/>
            <ac:spMk id="2" creationId="{B51071B7-9A35-4887-AB94-CF231170E501}"/>
          </ac:spMkLst>
        </pc:spChg>
        <pc:spChg chg="add mod">
          <ac:chgData name="Elie Sarkis" userId="e8826e32-598d-44e8-9752-b7fdf035a46f" providerId="ADAL" clId="{A6C8D7B4-A445-4E69-B778-91712D7DFA6A}" dt="2022-09-23T06:30:59.756" v="395" actId="108"/>
          <ac:spMkLst>
            <pc:docMk/>
            <pc:sldMk cId="3397548192" sldId="5872"/>
            <ac:spMk id="3" creationId="{8683193B-A138-5943-E953-C4AF275D9DF8}"/>
          </ac:spMkLst>
        </pc:spChg>
        <pc:spChg chg="add mod">
          <ac:chgData name="Elie Sarkis" userId="e8826e32-598d-44e8-9752-b7fdf035a46f" providerId="ADAL" clId="{A6C8D7B4-A445-4E69-B778-91712D7DFA6A}" dt="2022-09-23T06:31:38.584" v="422" actId="404"/>
          <ac:spMkLst>
            <pc:docMk/>
            <pc:sldMk cId="3397548192" sldId="5872"/>
            <ac:spMk id="6" creationId="{5C11E116-E1C6-41B8-0812-590A3E395E9D}"/>
          </ac:spMkLst>
        </pc:spChg>
        <pc:spChg chg="del mod">
          <ac:chgData name="Elie Sarkis" userId="e8826e32-598d-44e8-9752-b7fdf035a46f" providerId="ADAL" clId="{A6C8D7B4-A445-4E69-B778-91712D7DFA6A}" dt="2022-09-23T06:31:05.989" v="398" actId="478"/>
          <ac:spMkLst>
            <pc:docMk/>
            <pc:sldMk cId="3397548192" sldId="5872"/>
            <ac:spMk id="11" creationId="{5C1EEAC6-EB79-47D6-BFF1-79E41F96E62C}"/>
          </ac:spMkLst>
        </pc:spChg>
        <pc:picChg chg="add mod">
          <ac:chgData name="Elie Sarkis" userId="e8826e32-598d-44e8-9752-b7fdf035a46f" providerId="ADAL" clId="{A6C8D7B4-A445-4E69-B778-91712D7DFA6A}" dt="2022-09-23T06:31:10.193" v="399" actId="1076"/>
          <ac:picMkLst>
            <pc:docMk/>
            <pc:sldMk cId="3397548192" sldId="5872"/>
            <ac:picMk id="4" creationId="{23667621-6DCA-7169-9098-6F428E4CAC5F}"/>
          </ac:picMkLst>
        </pc:picChg>
        <pc:picChg chg="del">
          <ac:chgData name="Elie Sarkis" userId="e8826e32-598d-44e8-9752-b7fdf035a46f" providerId="ADAL" clId="{A6C8D7B4-A445-4E69-B778-91712D7DFA6A}" dt="2022-09-23T06:30:49.251" v="391" actId="478"/>
          <ac:picMkLst>
            <pc:docMk/>
            <pc:sldMk cId="3397548192" sldId="5872"/>
            <ac:picMk id="5" creationId="{C7980BA0-CF7E-4A53-AAEE-CA95D2EA68B7}"/>
          </ac:picMkLst>
        </pc:picChg>
      </pc:sldChg>
    </pc:docChg>
  </pc:docChgLst>
  <pc:docChgLst>
    <pc:chgData name="Elissa Ghanem" userId="4a7130e5-902d-40f4-8ff2-d3a7ed44752a" providerId="ADAL" clId="{E2926D88-D2DF-47F0-BF2C-070DD1F6F05B}"/>
    <pc:docChg chg="modSld">
      <pc:chgData name="Elissa Ghanem" userId="4a7130e5-902d-40f4-8ff2-d3a7ed44752a" providerId="ADAL" clId="{E2926D88-D2DF-47F0-BF2C-070DD1F6F05B}" dt="2022-09-22T10:23:27.606" v="4" actId="20577"/>
      <pc:docMkLst>
        <pc:docMk/>
      </pc:docMkLst>
      <pc:sldChg chg="modSp mod">
        <pc:chgData name="Elissa Ghanem" userId="4a7130e5-902d-40f4-8ff2-d3a7ed44752a" providerId="ADAL" clId="{E2926D88-D2DF-47F0-BF2C-070DD1F6F05B}" dt="2022-09-22T10:23:27.606" v="4" actId="20577"/>
        <pc:sldMkLst>
          <pc:docMk/>
          <pc:sldMk cId="1735455491" sldId="982"/>
        </pc:sldMkLst>
        <pc:spChg chg="mod">
          <ac:chgData name="Elissa Ghanem" userId="4a7130e5-902d-40f4-8ff2-d3a7ed44752a" providerId="ADAL" clId="{E2926D88-D2DF-47F0-BF2C-070DD1F6F05B}" dt="2022-09-22T10:23:27.606" v="4" actId="20577"/>
          <ac:spMkLst>
            <pc:docMk/>
            <pc:sldMk cId="1735455491" sldId="982"/>
            <ac:spMk id="2" creationId="{B51071B7-9A35-4887-AB94-CF231170E50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6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6/12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180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crowd&#10;&#10;Description generated with high confidence">
            <a:extLst>
              <a:ext uri="{FF2B5EF4-FFF2-40B4-BE49-F238E27FC236}">
                <a16:creationId xmlns:a16="http://schemas.microsoft.com/office/drawing/2014/main" id="{A0379E20-441F-4C5C-9947-CE1D1DE487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64004" y="286476"/>
            <a:ext cx="7705459" cy="64148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2224B9D-90B1-461A-A87C-7913AA547E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80649" y="286477"/>
            <a:ext cx="1508827" cy="817511"/>
          </a:xfrm>
          <a:prstGeom prst="rect">
            <a:avLst/>
          </a:prstGeom>
        </p:spPr>
      </p:pic>
      <p:sp>
        <p:nvSpPr>
          <p:cNvPr id="10" name="Título 1">
            <a:extLst>
              <a:ext uri="{FF2B5EF4-FFF2-40B4-BE49-F238E27FC236}">
                <a16:creationId xmlns:a16="http://schemas.microsoft.com/office/drawing/2014/main" id="{C3260A64-1C56-4515-8DA9-4CAD4DB761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7542" y="414863"/>
            <a:ext cx="3975059" cy="6891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650"/>
              </a:spcAft>
              <a:defRPr sz="151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ro-RO" dirty="0"/>
              <a:t>Lorem ipsum dolor sit amet </a:t>
            </a:r>
            <a:br>
              <a:rPr lang="en-US" dirty="0"/>
            </a:br>
            <a:r>
              <a:rPr lang="ro-RO" dirty="0"/>
              <a:t>consectetur adipiscing elit</a:t>
            </a:r>
            <a:endParaRPr lang="es-ES" dirty="0"/>
          </a:p>
        </p:txBody>
      </p:sp>
      <p:sp>
        <p:nvSpPr>
          <p:cNvPr id="11" name="Subtítulo 2">
            <a:extLst>
              <a:ext uri="{FF2B5EF4-FFF2-40B4-BE49-F238E27FC236}">
                <a16:creationId xmlns:a16="http://schemas.microsoft.com/office/drawing/2014/main" id="{FFBC3E65-1616-45C8-B304-E7835B70AC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7541" y="1103988"/>
            <a:ext cx="4588591" cy="5880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83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dirty="0"/>
              <a:t>Lorem ipsum dolor sit amet, consectetur adipiscing elit. </a:t>
            </a:r>
            <a:endParaRPr lang="en-US" dirty="0"/>
          </a:p>
          <a:p>
            <a:r>
              <a:rPr lang="ro-RO" dirty="0"/>
              <a:t>Donec vel arcu arcu. Phasellus ultricies</a:t>
            </a:r>
            <a:r>
              <a:rPr lang="en-US" dirty="0"/>
              <a:t>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38105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3305A4ED-7923-4C52-87D8-E3361671152F}" type="datetimeFigureOut">
              <a:rPr lang="en-US" smtClean="0"/>
              <a:pPr/>
              <a:t>12/6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1C1B7B7C-3FE7-4461-9E2D-3C20BA8BF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654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crowd&#10;&#10;Description generated with high confidence">
            <a:extLst>
              <a:ext uri="{FF2B5EF4-FFF2-40B4-BE49-F238E27FC236}">
                <a16:creationId xmlns:a16="http://schemas.microsoft.com/office/drawing/2014/main" id="{A0379E20-441F-4C5C-9947-CE1D1DE487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64004" y="286476"/>
            <a:ext cx="7705459" cy="64148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2224B9D-90B1-461A-A87C-7913AA547E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80649" y="286477"/>
            <a:ext cx="1508827" cy="817511"/>
          </a:xfrm>
          <a:prstGeom prst="rect">
            <a:avLst/>
          </a:prstGeom>
        </p:spPr>
      </p:pic>
      <p:sp>
        <p:nvSpPr>
          <p:cNvPr id="10" name="Título 1">
            <a:extLst>
              <a:ext uri="{FF2B5EF4-FFF2-40B4-BE49-F238E27FC236}">
                <a16:creationId xmlns:a16="http://schemas.microsoft.com/office/drawing/2014/main" id="{C3260A64-1C56-4515-8DA9-4CAD4DB761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7542" y="414863"/>
            <a:ext cx="3975059" cy="6891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650"/>
              </a:spcAft>
              <a:defRPr sz="151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ro-RO" dirty="0"/>
              <a:t>Lorem ipsum dolor sit amet </a:t>
            </a:r>
            <a:br>
              <a:rPr lang="en-US" dirty="0"/>
            </a:br>
            <a:r>
              <a:rPr lang="ro-RO" dirty="0"/>
              <a:t>consectetur adipiscing elit</a:t>
            </a:r>
            <a:endParaRPr lang="es-ES" dirty="0"/>
          </a:p>
        </p:txBody>
      </p:sp>
      <p:sp>
        <p:nvSpPr>
          <p:cNvPr id="11" name="Subtítulo 2">
            <a:extLst>
              <a:ext uri="{FF2B5EF4-FFF2-40B4-BE49-F238E27FC236}">
                <a16:creationId xmlns:a16="http://schemas.microsoft.com/office/drawing/2014/main" id="{FFBC3E65-1616-45C8-B304-E7835B70AC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7541" y="1103988"/>
            <a:ext cx="4588591" cy="5880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83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dirty="0"/>
              <a:t>Lorem ipsum dolor sit amet, consectetur adipiscing elit. </a:t>
            </a:r>
            <a:endParaRPr lang="en-US" dirty="0"/>
          </a:p>
          <a:p>
            <a:r>
              <a:rPr lang="ro-RO" dirty="0"/>
              <a:t>Donec vel arcu arcu. Phasellus ultricies</a:t>
            </a:r>
            <a:r>
              <a:rPr lang="en-US" dirty="0"/>
              <a:t>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40728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5" r:id="rId6"/>
    <p:sldLayoutId id="2147483656" r:id="rId7"/>
    <p:sldLayoutId id="2147483657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www.shutterstock.com/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iesarkis.net/blog/top-content-creation-design-tools-social-media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www.canva.com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app.bitly.com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A83DEC4-160F-8D45-928E-F904BB56AA6E}"/>
              </a:ext>
            </a:extLst>
          </p:cNvPr>
          <p:cNvSpPr txBox="1"/>
          <p:nvPr/>
        </p:nvSpPr>
        <p:spPr>
          <a:xfrm>
            <a:off x="963283" y="3644288"/>
            <a:ext cx="48128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From Traditional to New Market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880987" y="2858074"/>
            <a:ext cx="481280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" sz="3200" b="1" dirty="0">
                <a:solidFill>
                  <a:srgbClr val="921824"/>
                </a:solidFill>
                <a:latin typeface="Georgia"/>
              </a:rPr>
              <a:t>Content Marketing</a:t>
            </a:r>
            <a:endParaRPr lang="en-US" sz="3200" dirty="0"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751796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50" y="3094339"/>
            <a:ext cx="7429500" cy="66932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Posting Strategy</a:t>
            </a:r>
            <a:endParaRPr lang="en-GB" sz="28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328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49" y="1181286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Monthly Content Calendar</a:t>
            </a:r>
            <a:endParaRPr lang="en-GB" sz="20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4826C3-074A-4567-B319-8CFD3A8EED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564"/>
          <a:stretch/>
        </p:blipFill>
        <p:spPr>
          <a:xfrm>
            <a:off x="1238250" y="2000060"/>
            <a:ext cx="7429499" cy="3413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7408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50" y="3094339"/>
            <a:ext cx="7429500" cy="66932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Content Creation</a:t>
            </a:r>
            <a:b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</a:rPr>
            </a:br>
            <a:r>
              <a:rPr lang="en-GB" sz="2800" i="1" dirty="0">
                <a:solidFill>
                  <a:srgbClr val="90292A"/>
                </a:solidFill>
                <a:latin typeface="Georgia" panose="02040502050405020303" pitchFamily="18" charset="0"/>
              </a:rPr>
              <a:t>Tips and Tools</a:t>
            </a:r>
          </a:p>
        </p:txBody>
      </p:sp>
    </p:spTree>
    <p:extLst>
      <p:ext uri="{BB962C8B-B14F-4D97-AF65-F5344CB8AC3E}">
        <p14:creationId xmlns:p14="http://schemas.microsoft.com/office/powerpoint/2010/main" val="1965759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6775" y="1636273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  <a:cs typeface="Segoe UI" panose="020B0502040204020203" pitchFamily="34" charset="0"/>
              </a:rPr>
              <a:t>Getting Started with Content Creation</a:t>
            </a: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72C0FFDD-9232-4198-AB65-343AEE217B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76775" y="2306198"/>
            <a:ext cx="6776132" cy="2862262"/>
          </a:xfrm>
          <a:prstGeom prst="rect">
            <a:avLst/>
          </a:prstGeom>
        </p:spPr>
        <p:txBody>
          <a:bodyPr>
            <a:noAutofit/>
          </a:bodyPr>
          <a:lstStyle/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a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onsistent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ocial media schedule.</a:t>
            </a:r>
          </a:p>
          <a:p>
            <a:pPr marL="371464" indent="-371464">
              <a:buFont typeface="+mj-lt"/>
              <a:buAutoNum type="arabicPeriod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a template/design feel to be applied on all the posts.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US" sz="1400" b="1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an identity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y having a link between the content shared. </a:t>
            </a:r>
          </a:p>
          <a:p>
            <a:pPr marL="371464" indent="-371464">
              <a:buFont typeface="+mj-lt"/>
              <a:buAutoNum type="arabicPeriod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 the right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ocial media sizes.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Most used size: 1080x1080px</a:t>
            </a:r>
          </a:p>
          <a:p>
            <a:pPr marL="371464" indent="-371464">
              <a:buFont typeface="+mj-lt"/>
              <a:buAutoNum type="arabicPeriod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371464" indent="-371464">
              <a:buFont typeface="+mj-lt"/>
              <a:buAutoNum type="arabicPeriod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ave your social media posts in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NG format.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1464" indent="-371464">
              <a:buFont typeface="+mj-lt"/>
              <a:buAutoNum type="arabicPeriod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2725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contenido 2">
            <a:extLst>
              <a:ext uri="{FF2B5EF4-FFF2-40B4-BE49-F238E27FC236}">
                <a16:creationId xmlns:a16="http://schemas.microsoft.com/office/drawing/2014/main" id="{1C2B6C3C-892C-46C4-B7D2-772BCA10C976}"/>
              </a:ext>
            </a:extLst>
          </p:cNvPr>
          <p:cNvSpPr txBox="1">
            <a:spLocks/>
          </p:cNvSpPr>
          <p:nvPr/>
        </p:nvSpPr>
        <p:spPr>
          <a:xfrm>
            <a:off x="698299" y="2360473"/>
            <a:ext cx="3153997" cy="171791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i="1" dirty="0">
                <a:solidFill>
                  <a:srgbClr val="90292A"/>
                </a:solidFill>
                <a:latin typeface="Arial"/>
                <a:cs typeface="Arial"/>
              </a:rPr>
              <a:t>An example about the identity: </a:t>
            </a:r>
          </a:p>
          <a:p>
            <a:pPr marL="0" indent="0">
              <a:buNone/>
            </a:pPr>
            <a:endParaRPr lang="en-US" sz="1400" b="1" i="1" dirty="0">
              <a:solidFill>
                <a:srgbClr val="90292A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dirty="0">
                <a:latin typeface="Arial"/>
                <a:cs typeface="Arial"/>
              </a:rPr>
              <a:t>Link the posts with elements, colors or by applying a specific theme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1A539C-EFE3-4E15-AD50-2FF083468B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7111" y="1354554"/>
            <a:ext cx="3205911" cy="42951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6EB80AB-1D63-45F4-B8A7-66F617AAF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7748" y="1354554"/>
            <a:ext cx="2313911" cy="42951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92159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contenido 2">
            <a:extLst>
              <a:ext uri="{FF2B5EF4-FFF2-40B4-BE49-F238E27FC236}">
                <a16:creationId xmlns:a16="http://schemas.microsoft.com/office/drawing/2014/main" id="{1C2B6C3C-892C-46C4-B7D2-772BCA10C976}"/>
              </a:ext>
            </a:extLst>
          </p:cNvPr>
          <p:cNvSpPr txBox="1">
            <a:spLocks/>
          </p:cNvSpPr>
          <p:nvPr/>
        </p:nvSpPr>
        <p:spPr>
          <a:xfrm>
            <a:off x="366443" y="2213427"/>
            <a:ext cx="2675298" cy="171791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i="1" dirty="0">
                <a:solidFill>
                  <a:srgbClr val="90292A"/>
                </a:solidFill>
                <a:latin typeface="Arial"/>
                <a:cs typeface="Arial"/>
              </a:rPr>
              <a:t>Content Marketing Example:</a:t>
            </a:r>
          </a:p>
          <a:p>
            <a:pPr marL="0" indent="0">
              <a:buNone/>
            </a:pPr>
            <a:endParaRPr lang="en-US" sz="1400" b="1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Coca-Cola</a:t>
            </a:r>
          </a:p>
          <a:p>
            <a:pPr marL="0" indent="0">
              <a:buNone/>
            </a:pPr>
            <a:r>
              <a:rPr lang="en-US" sz="1400" dirty="0">
                <a:latin typeface="Arial"/>
                <a:cs typeface="Arial"/>
              </a:rPr>
              <a:t>Emotional Marke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83967D-E5FC-43FF-ADD3-12EAD08817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0711" y="1591056"/>
            <a:ext cx="6945289" cy="34938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70575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4419" y="1096897"/>
            <a:ext cx="7429500" cy="66833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Use Copyright-free Photos</a:t>
            </a: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72C0FFDD-9232-4198-AB65-343AEE217B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629504" y="5047342"/>
            <a:ext cx="2206625" cy="3619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500" b="1" dirty="0">
                <a:latin typeface="Arial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utterstock.com</a:t>
            </a:r>
            <a:endParaRPr lang="en-US" sz="1500" b="1" dirty="0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891ECC-2301-471F-83D4-FEC278D24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4419" y="1803419"/>
            <a:ext cx="6776905" cy="3122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DC7F1E4-AF5D-4DF1-A5D4-8365E7CFB5F4}"/>
              </a:ext>
            </a:extLst>
          </p:cNvPr>
          <p:cNvSpPr txBox="1"/>
          <p:nvPr/>
        </p:nvSpPr>
        <p:spPr>
          <a:xfrm>
            <a:off x="4236132" y="5409292"/>
            <a:ext cx="993368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b="0" i="1" dirty="0"/>
              <a:t>Paid</a:t>
            </a:r>
          </a:p>
        </p:txBody>
      </p:sp>
    </p:spTree>
    <p:extLst>
      <p:ext uri="{BB962C8B-B14F-4D97-AF65-F5344CB8AC3E}">
        <p14:creationId xmlns:p14="http://schemas.microsoft.com/office/powerpoint/2010/main" val="11719955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86117" y="965569"/>
            <a:ext cx="4147417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Use Copyright-free Photo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C1DE72-2B75-8DA0-5641-83186D68B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6117" y="1750803"/>
            <a:ext cx="6702081" cy="3213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Marcador de contenido 2">
            <a:extLst>
              <a:ext uri="{FF2B5EF4-FFF2-40B4-BE49-F238E27FC236}">
                <a16:creationId xmlns:a16="http://schemas.microsoft.com/office/drawing/2014/main" id="{F59B54D5-A835-6FB1-B6B6-C9BF6285F268}"/>
              </a:ext>
            </a:extLst>
          </p:cNvPr>
          <p:cNvSpPr txBox="1">
            <a:spLocks/>
          </p:cNvSpPr>
          <p:nvPr/>
        </p:nvSpPr>
        <p:spPr>
          <a:xfrm>
            <a:off x="4030165" y="5094230"/>
            <a:ext cx="1674202" cy="363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b="1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xels.com</a:t>
            </a:r>
            <a:endParaRPr lang="en-US" sz="15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CE836B-8186-9C70-9F2B-2B5478BDE4B2}"/>
              </a:ext>
            </a:extLst>
          </p:cNvPr>
          <p:cNvSpPr txBox="1"/>
          <p:nvPr/>
        </p:nvSpPr>
        <p:spPr>
          <a:xfrm>
            <a:off x="4370581" y="5392859"/>
            <a:ext cx="993368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b="0" i="1" dirty="0"/>
              <a:t>Free</a:t>
            </a:r>
          </a:p>
        </p:txBody>
      </p:sp>
    </p:spTree>
    <p:extLst>
      <p:ext uri="{BB962C8B-B14F-4D97-AF65-F5344CB8AC3E}">
        <p14:creationId xmlns:p14="http://schemas.microsoft.com/office/powerpoint/2010/main" val="37997527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17598" y="1302080"/>
            <a:ext cx="7429500" cy="66833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Use Copyright-free Photos</a:t>
            </a: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72C0FFDD-9232-4198-AB65-343AEE217B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000375" y="5171158"/>
            <a:ext cx="3905250" cy="3286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spcBef>
                <a:spcPct val="20000"/>
              </a:spcBef>
              <a:buNone/>
            </a:pPr>
            <a:r>
              <a:rPr lang="en-US" sz="1500" i="1" dirty="0">
                <a:latin typeface="Arial"/>
                <a:cs typeface="Arial"/>
              </a:rPr>
              <a:t>22 Places to Find FREE Stock Photo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8016B1-7B7A-427A-A95E-156892B13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598" y="2120452"/>
            <a:ext cx="6070803" cy="2617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C1EEAC6-EB79-47D6-BFF1-79E41F96E62C}"/>
              </a:ext>
            </a:extLst>
          </p:cNvPr>
          <p:cNvSpPr txBox="1"/>
          <p:nvPr/>
        </p:nvSpPr>
        <p:spPr>
          <a:xfrm>
            <a:off x="2094538" y="4871089"/>
            <a:ext cx="5716924" cy="300069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p Content Creation and Design Tools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7497834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14159" y="1067775"/>
            <a:ext cx="7277681" cy="66833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reate Stunning Images Yourself without </a:t>
            </a:r>
            <a:b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</a:b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Design Skills </a:t>
            </a:r>
            <a:endParaRPr lang="en-GB" sz="2000" b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1EEAC6-EB79-47D6-BFF1-79E41F96E62C}"/>
              </a:ext>
            </a:extLst>
          </p:cNvPr>
          <p:cNvSpPr txBox="1"/>
          <p:nvPr/>
        </p:nvSpPr>
        <p:spPr>
          <a:xfrm>
            <a:off x="2668650" y="5534122"/>
            <a:ext cx="3649290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nva.com</a:t>
            </a:r>
            <a:r>
              <a:rPr lang="en-US" sz="1500" dirty="0"/>
              <a:t> or Canva Mobile Ap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669F4C-BD36-4898-8B84-AA61903332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4254" y="1930470"/>
            <a:ext cx="6983499" cy="34004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19824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A06EAFC-F7EC-4781-A1AB-BEA949783134}"/>
              </a:ext>
            </a:extLst>
          </p:cNvPr>
          <p:cNvSpPr/>
          <p:nvPr/>
        </p:nvSpPr>
        <p:spPr>
          <a:xfrm>
            <a:off x="2206655" y="1951958"/>
            <a:ext cx="549269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“</a:t>
            </a:r>
            <a:r>
              <a:rPr lang="en-US" sz="2800" b="1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Content Marketing </a:t>
            </a:r>
            <a:r>
              <a:rPr lang="en-US" sz="2800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is really like a first date. If all you do is talk about yourself, there won’t be a second date.” </a:t>
            </a:r>
          </a:p>
          <a:p>
            <a:pPr algn="ctr"/>
            <a:r>
              <a:rPr lang="en-US" sz="2800" i="1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David Beebe</a:t>
            </a:r>
          </a:p>
        </p:txBody>
      </p:sp>
    </p:spTree>
    <p:extLst>
      <p:ext uri="{BB962C8B-B14F-4D97-AF65-F5344CB8AC3E}">
        <p14:creationId xmlns:p14="http://schemas.microsoft.com/office/powerpoint/2010/main" val="35865504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id="{562A19F0-1AD9-B4D6-AF14-8C433C721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382" y="1692449"/>
            <a:ext cx="6784156" cy="379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C5891D8-1D08-02CC-E721-779DE0D39850}"/>
              </a:ext>
            </a:extLst>
          </p:cNvPr>
          <p:cNvSpPr txBox="1"/>
          <p:nvPr/>
        </p:nvSpPr>
        <p:spPr>
          <a:xfrm>
            <a:off x="1559566" y="939095"/>
            <a:ext cx="68701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ontent Writing: AI Writing Assista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103C2D-931D-9195-5449-C28CC2C6DF14}"/>
              </a:ext>
            </a:extLst>
          </p:cNvPr>
          <p:cNvSpPr txBox="1"/>
          <p:nvPr/>
        </p:nvSpPr>
        <p:spPr>
          <a:xfrm>
            <a:off x="1906964" y="5523587"/>
            <a:ext cx="60920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ytr.me |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 Tool that will write the text on your behalf using different tonalities</a:t>
            </a:r>
            <a:endParaRPr lang="en-A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61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23601" y="1247185"/>
            <a:ext cx="7429500" cy="66833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Video Editing Mobile Application</a:t>
            </a:r>
            <a:endParaRPr lang="en-GB" sz="2000" b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1EEAC6-EB79-47D6-BFF1-79E41F96E62C}"/>
              </a:ext>
            </a:extLst>
          </p:cNvPr>
          <p:cNvSpPr txBox="1"/>
          <p:nvPr/>
        </p:nvSpPr>
        <p:spPr>
          <a:xfrm>
            <a:off x="2613706" y="5097925"/>
            <a:ext cx="3649290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b="0" dirty="0"/>
              <a:t>VideoShow – Video and Photo Edit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980BA0-CF7E-4A53-AAEE-CA95D2EA6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950" y="2114478"/>
            <a:ext cx="8614100" cy="26290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0674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683193B-A138-5943-E953-C4AF275D9DF8}"/>
              </a:ext>
            </a:extLst>
          </p:cNvPr>
          <p:cNvSpPr txBox="1">
            <a:spLocks/>
          </p:cNvSpPr>
          <p:nvPr/>
        </p:nvSpPr>
        <p:spPr>
          <a:xfrm>
            <a:off x="650449" y="1699732"/>
            <a:ext cx="6172200" cy="536972"/>
          </a:xfrm>
          <a:prstGeom prst="rect">
            <a:avLst/>
          </a:prstGeom>
        </p:spPr>
        <p:txBody>
          <a:bodyPr/>
          <a:lstStyle>
            <a:lvl1pPr defTabSz="457200">
              <a:spcBef>
                <a:spcPct val="0"/>
              </a:spcBef>
              <a:buNone/>
              <a:defRPr sz="1950" b="1">
                <a:solidFill>
                  <a:srgbClr val="90292A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2000" dirty="0"/>
              <a:t>Easy, Quick and Video Editing on the Be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667621-6DCA-7169-9098-6F428E4CA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217" y="2379874"/>
            <a:ext cx="7478567" cy="3138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C11E116-E1C6-41B8-0812-590A3E395E9D}"/>
              </a:ext>
            </a:extLst>
          </p:cNvPr>
          <p:cNvSpPr txBox="1"/>
          <p:nvPr/>
        </p:nvSpPr>
        <p:spPr>
          <a:xfrm>
            <a:off x="2516134" y="5008227"/>
            <a:ext cx="3649290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r"/>
            <a:r>
              <a:rPr lang="en-US" sz="1400" b="0" i="1" dirty="0"/>
              <a:t>Available on iOS</a:t>
            </a:r>
          </a:p>
        </p:txBody>
      </p:sp>
    </p:spTree>
    <p:extLst>
      <p:ext uri="{BB962C8B-B14F-4D97-AF65-F5344CB8AC3E}">
        <p14:creationId xmlns:p14="http://schemas.microsoft.com/office/powerpoint/2010/main" val="33975481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6258" y="1191377"/>
            <a:ext cx="7429500" cy="66833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Shorten your Links</a:t>
            </a:r>
            <a:endParaRPr lang="en-GB" sz="2000" b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1EEAC6-EB79-47D6-BFF1-79E41F96E62C}"/>
              </a:ext>
            </a:extLst>
          </p:cNvPr>
          <p:cNvSpPr txBox="1"/>
          <p:nvPr/>
        </p:nvSpPr>
        <p:spPr>
          <a:xfrm>
            <a:off x="3259786" y="4917111"/>
            <a:ext cx="3649290" cy="300082"/>
          </a:xfrm>
          <a:prstGeom prst="rect">
            <a:avLst/>
          </a:prstGeom>
        </p:spPr>
        <p:txBody>
          <a:bodyPr>
            <a:no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tly.com</a:t>
            </a:r>
            <a:endParaRPr lang="en-US" sz="1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DCD994-135E-42E8-B09B-E35BD24F5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258" y="1859715"/>
            <a:ext cx="7574978" cy="26079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CC4A63-A8D5-4327-8681-D69AC53F2CAF}"/>
              </a:ext>
            </a:extLst>
          </p:cNvPr>
          <p:cNvSpPr txBox="1"/>
          <p:nvPr/>
        </p:nvSpPr>
        <p:spPr>
          <a:xfrm>
            <a:off x="2637409" y="5217193"/>
            <a:ext cx="4894042" cy="449430"/>
          </a:xfrm>
          <a:prstGeom prst="rect">
            <a:avLst/>
          </a:prstGeom>
        </p:spPr>
        <p:txBody>
          <a:bodyPr>
            <a:norm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sz="1500" b="0" dirty="0"/>
              <a:t>Trach the clicks on your link – by traffic source/channel </a:t>
            </a:r>
          </a:p>
        </p:txBody>
      </p:sp>
    </p:spTree>
    <p:extLst>
      <p:ext uri="{BB962C8B-B14F-4D97-AF65-F5344CB8AC3E}">
        <p14:creationId xmlns:p14="http://schemas.microsoft.com/office/powerpoint/2010/main" val="28484739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A06EAFC-F7EC-4781-A1AB-BEA949783134}"/>
              </a:ext>
            </a:extLst>
          </p:cNvPr>
          <p:cNvSpPr/>
          <p:nvPr/>
        </p:nvSpPr>
        <p:spPr>
          <a:xfrm>
            <a:off x="1490472" y="2828835"/>
            <a:ext cx="70408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You have now the strategy and the tools. </a:t>
            </a:r>
          </a:p>
          <a:p>
            <a:pPr algn="ctr"/>
            <a:endParaRPr lang="en-US" sz="2800" dirty="0">
              <a:solidFill>
                <a:srgbClr val="90292A"/>
              </a:solidFill>
              <a:latin typeface="Arial"/>
              <a:ea typeface="+mj-ea"/>
              <a:cs typeface="Arial"/>
            </a:endParaRPr>
          </a:p>
          <a:p>
            <a:pPr algn="ctr"/>
            <a:r>
              <a:rPr lang="en-US" sz="2800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Are you ready to apply</a:t>
            </a:r>
          </a:p>
          <a:p>
            <a:pPr algn="ctr"/>
            <a:r>
              <a:rPr lang="en-US" sz="2800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and dive more into </a:t>
            </a:r>
            <a:r>
              <a:rPr lang="en-US" sz="2800" b="1" dirty="0">
                <a:solidFill>
                  <a:srgbClr val="90292A"/>
                </a:solidFill>
                <a:latin typeface="Arial"/>
                <a:ea typeface="+mj-ea"/>
                <a:cs typeface="Arial"/>
              </a:rPr>
              <a:t>Content Marketing?</a:t>
            </a:r>
          </a:p>
        </p:txBody>
      </p:sp>
    </p:spTree>
    <p:extLst>
      <p:ext uri="{BB962C8B-B14F-4D97-AF65-F5344CB8AC3E}">
        <p14:creationId xmlns:p14="http://schemas.microsoft.com/office/powerpoint/2010/main" val="42301294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50" y="2893429"/>
            <a:ext cx="7429500" cy="669323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ts val="0"/>
              </a:spcBef>
            </a:pPr>
            <a: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  <a:ea typeface="Times New Roman" panose="02020603050405020304" pitchFamily="18" charset="0"/>
                <a:cs typeface="Segoe UI" panose="020B0502040204020203" pitchFamily="34" charset="0"/>
              </a:rPr>
              <a:t>Content Marketing Strategy </a:t>
            </a:r>
            <a:endParaRPr lang="en-US" sz="2800" dirty="0">
              <a:solidFill>
                <a:srgbClr val="90292A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455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BA1B580-DFFB-4081-A41A-AAF4449F0B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259" y="1882976"/>
            <a:ext cx="7429500" cy="271507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6259" y="1336234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ontent Strategy Funn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E56C3FE-808E-4F39-9A5D-20C1CD41C709}"/>
              </a:ext>
            </a:extLst>
          </p:cNvPr>
          <p:cNvCxnSpPr>
            <a:cxnSpLocks/>
          </p:cNvCxnSpPr>
          <p:nvPr/>
        </p:nvCxnSpPr>
        <p:spPr>
          <a:xfrm>
            <a:off x="5270393" y="4598050"/>
            <a:ext cx="1925785" cy="0"/>
          </a:xfrm>
          <a:prstGeom prst="line">
            <a:avLst/>
          </a:prstGeom>
          <a:ln w="38100">
            <a:solidFill>
              <a:srgbClr val="6B6B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816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00556F9-6B5E-447A-8E49-F0CCA049BBF8}"/>
              </a:ext>
            </a:extLst>
          </p:cNvPr>
          <p:cNvSpPr/>
          <p:nvPr/>
        </p:nvSpPr>
        <p:spPr>
          <a:xfrm>
            <a:off x="4953001" y="0"/>
            <a:ext cx="4952999" cy="6858001"/>
          </a:xfrm>
          <a:prstGeom prst="rect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>
              <a:solidFill>
                <a:srgbClr val="90292A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B17E134-1F61-4784-A54C-6FE0BF4A7A13}"/>
              </a:ext>
            </a:extLst>
          </p:cNvPr>
          <p:cNvSpPr/>
          <p:nvPr/>
        </p:nvSpPr>
        <p:spPr>
          <a:xfrm>
            <a:off x="0" y="0"/>
            <a:ext cx="4953000" cy="6858000"/>
          </a:xfrm>
          <a:prstGeom prst="rect">
            <a:avLst/>
          </a:prstGeom>
          <a:solidFill>
            <a:srgbClr val="6B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2356CDF7-ECC7-4E1E-AE6A-4D8FE0C9CDD5}"/>
              </a:ext>
            </a:extLst>
          </p:cNvPr>
          <p:cNvGrpSpPr/>
          <p:nvPr/>
        </p:nvGrpSpPr>
        <p:grpSpPr>
          <a:xfrm>
            <a:off x="4611133" y="3119718"/>
            <a:ext cx="618567" cy="618567"/>
            <a:chOff x="0" y="0"/>
            <a:chExt cx="1913890" cy="1913890"/>
          </a:xfrm>
          <a:solidFill>
            <a:srgbClr val="90292A"/>
          </a:solidFill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72A23D5F-F061-42DE-B934-BCF8E3E5FA4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1913890" y="0"/>
                  </a:lnTo>
                  <a:lnTo>
                    <a:pt x="1913890" y="1913890"/>
                  </a:lnTo>
                  <a:lnTo>
                    <a:pt x="0" y="1913890"/>
                  </a:lnTo>
                  <a:close/>
                </a:path>
              </a:pathLst>
            </a:custGeom>
            <a:grpFill/>
            <a:ln>
              <a:noFill/>
            </a:ln>
          </p:spPr>
        </p:sp>
      </p:grpSp>
      <p:pic>
        <p:nvPicPr>
          <p:cNvPr id="10" name="Picture 5">
            <a:extLst>
              <a:ext uri="{FF2B5EF4-FFF2-40B4-BE49-F238E27FC236}">
                <a16:creationId xmlns:a16="http://schemas.microsoft.com/office/drawing/2014/main" id="{1EA50AA3-34AA-42CF-8C3A-F1A88207281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6000"/>
          </a:blip>
          <a:srcRect/>
          <a:stretch>
            <a:fillRect/>
          </a:stretch>
        </p:blipFill>
        <p:spPr>
          <a:xfrm>
            <a:off x="3581980" y="4638972"/>
            <a:ext cx="2676871" cy="1197844"/>
          </a:xfrm>
          <a:prstGeom prst="rect">
            <a:avLst/>
          </a:prstGeom>
        </p:spPr>
      </p:pic>
      <p:grpSp>
        <p:nvGrpSpPr>
          <p:cNvPr id="11" name="Group 6">
            <a:extLst>
              <a:ext uri="{FF2B5EF4-FFF2-40B4-BE49-F238E27FC236}">
                <a16:creationId xmlns:a16="http://schemas.microsoft.com/office/drawing/2014/main" id="{CB944EEF-0339-48ED-9290-7E0D20D9EA8A}"/>
              </a:ext>
            </a:extLst>
          </p:cNvPr>
          <p:cNvGrpSpPr/>
          <p:nvPr/>
        </p:nvGrpSpPr>
        <p:grpSpPr>
          <a:xfrm>
            <a:off x="1091134" y="1235910"/>
            <a:ext cx="2741309" cy="378624"/>
            <a:chOff x="-589995" y="41279"/>
            <a:chExt cx="4498557" cy="621331"/>
          </a:xfrm>
          <a:solidFill>
            <a:schemeClr val="bg1"/>
          </a:solidFill>
        </p:grpSpPr>
        <p:grpSp>
          <p:nvGrpSpPr>
            <p:cNvPr id="12" name="Group 7">
              <a:extLst>
                <a:ext uri="{FF2B5EF4-FFF2-40B4-BE49-F238E27FC236}">
                  <a16:creationId xmlns:a16="http://schemas.microsoft.com/office/drawing/2014/main" id="{587C8863-5956-458F-A011-8B5601E4A14B}"/>
                </a:ext>
              </a:extLst>
            </p:cNvPr>
            <p:cNvGrpSpPr/>
            <p:nvPr/>
          </p:nvGrpSpPr>
          <p:grpSpPr>
            <a:xfrm>
              <a:off x="-589995" y="41279"/>
              <a:ext cx="4498557" cy="621331"/>
              <a:chOff x="-144714" y="10125"/>
              <a:chExt cx="1103406" cy="152400"/>
            </a:xfrm>
            <a:grpFill/>
          </p:grpSpPr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12719C88-B7FA-4EFC-81EB-192B19D2AE72}"/>
                  </a:ext>
                </a:extLst>
              </p:cNvPr>
              <p:cNvSpPr/>
              <p:nvPr/>
            </p:nvSpPr>
            <p:spPr>
              <a:xfrm>
                <a:off x="-144714" y="10125"/>
                <a:ext cx="1103406" cy="152400"/>
              </a:xfrm>
              <a:custGeom>
                <a:avLst/>
                <a:gdLst/>
                <a:ahLst/>
                <a:cxnLst/>
                <a:rect l="l" t="t" r="r" b="b"/>
                <a:pathLst>
                  <a:path w="1103406" h="152400">
                    <a:moveTo>
                      <a:pt x="0" y="0"/>
                    </a:moveTo>
                    <a:lnTo>
                      <a:pt x="1103406" y="0"/>
                    </a:lnTo>
                    <a:lnTo>
                      <a:pt x="1103406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</p:spPr>
            <p:txBody>
              <a:bodyPr/>
              <a:lstStyle/>
              <a:p>
                <a:endParaRPr lang="en-US" sz="2288" dirty="0"/>
              </a:p>
            </p:txBody>
          </p:sp>
        </p:grpSp>
        <p:sp>
          <p:nvSpPr>
            <p:cNvPr id="13" name="TextBox 9">
              <a:extLst>
                <a:ext uri="{FF2B5EF4-FFF2-40B4-BE49-F238E27FC236}">
                  <a16:creationId xmlns:a16="http://schemas.microsoft.com/office/drawing/2014/main" id="{F99EE2E2-6A46-4BEB-9206-AD91D63C36DD}"/>
                </a:ext>
              </a:extLst>
            </p:cNvPr>
            <p:cNvSpPr txBox="1"/>
            <p:nvPr/>
          </p:nvSpPr>
          <p:spPr>
            <a:xfrm>
              <a:off x="-470561" y="107350"/>
              <a:ext cx="4259689" cy="449301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324"/>
                </a:lnSpc>
              </a:pPr>
              <a:r>
                <a:rPr lang="en-US" sz="1800" b="1" spc="106" dirty="0">
                  <a:solidFill>
                    <a:srgbClr val="90292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ditional Marketing</a:t>
              </a:r>
            </a:p>
          </p:txBody>
        </p:sp>
      </p:grpSp>
      <p:sp>
        <p:nvSpPr>
          <p:cNvPr id="15" name="TextBox 10">
            <a:extLst>
              <a:ext uri="{FF2B5EF4-FFF2-40B4-BE49-F238E27FC236}">
                <a16:creationId xmlns:a16="http://schemas.microsoft.com/office/drawing/2014/main" id="{3E8A491B-90B8-4396-B31B-807778C4694C}"/>
              </a:ext>
            </a:extLst>
          </p:cNvPr>
          <p:cNvSpPr txBox="1"/>
          <p:nvPr/>
        </p:nvSpPr>
        <p:spPr>
          <a:xfrm>
            <a:off x="1091134" y="2178062"/>
            <a:ext cx="2668528" cy="25113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-driven approach.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ling the product.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s attention for a short period.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bes the product</a:t>
            </a: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eatures.</a:t>
            </a:r>
          </a:p>
        </p:txBody>
      </p:sp>
      <p:grpSp>
        <p:nvGrpSpPr>
          <p:cNvPr id="16" name="Group 11">
            <a:extLst>
              <a:ext uri="{FF2B5EF4-FFF2-40B4-BE49-F238E27FC236}">
                <a16:creationId xmlns:a16="http://schemas.microsoft.com/office/drawing/2014/main" id="{0919C77B-93CF-4DC6-BD7F-14D863A49AE9}"/>
              </a:ext>
            </a:extLst>
          </p:cNvPr>
          <p:cNvGrpSpPr/>
          <p:nvPr/>
        </p:nvGrpSpPr>
        <p:grpSpPr>
          <a:xfrm>
            <a:off x="6133169" y="1228600"/>
            <a:ext cx="2579493" cy="378624"/>
            <a:chOff x="0" y="0"/>
            <a:chExt cx="4233013" cy="621331"/>
          </a:xfrm>
          <a:solidFill>
            <a:schemeClr val="bg1"/>
          </a:solidFill>
        </p:grpSpPr>
        <p:grpSp>
          <p:nvGrpSpPr>
            <p:cNvPr id="17" name="Group 12">
              <a:extLst>
                <a:ext uri="{FF2B5EF4-FFF2-40B4-BE49-F238E27FC236}">
                  <a16:creationId xmlns:a16="http://schemas.microsoft.com/office/drawing/2014/main" id="{DB0A3EE7-7AF0-4F11-8695-FB162BB7B9C0}"/>
                </a:ext>
              </a:extLst>
            </p:cNvPr>
            <p:cNvGrpSpPr/>
            <p:nvPr/>
          </p:nvGrpSpPr>
          <p:grpSpPr>
            <a:xfrm>
              <a:off x="0" y="0"/>
              <a:ext cx="4233013" cy="621331"/>
              <a:chOff x="0" y="0"/>
              <a:chExt cx="1038273" cy="152400"/>
            </a:xfrm>
            <a:grpFill/>
          </p:grpSpPr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3627BC14-03D1-4A89-A9E0-7B222C5391EF}"/>
                  </a:ext>
                </a:extLst>
              </p:cNvPr>
              <p:cNvSpPr/>
              <p:nvPr/>
            </p:nvSpPr>
            <p:spPr>
              <a:xfrm>
                <a:off x="0" y="0"/>
                <a:ext cx="1038273" cy="152400"/>
              </a:xfrm>
              <a:custGeom>
                <a:avLst/>
                <a:gdLst/>
                <a:ahLst/>
                <a:cxnLst/>
                <a:rect l="l" t="t" r="r" b="b"/>
                <a:pathLst>
                  <a:path w="1038273" h="152400">
                    <a:moveTo>
                      <a:pt x="0" y="0"/>
                    </a:moveTo>
                    <a:lnTo>
                      <a:pt x="1038273" y="0"/>
                    </a:lnTo>
                    <a:lnTo>
                      <a:pt x="1038273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</p:spPr>
          </p:sp>
        </p:grpSp>
        <p:sp>
          <p:nvSpPr>
            <p:cNvPr id="18" name="TextBox 14">
              <a:extLst>
                <a:ext uri="{FF2B5EF4-FFF2-40B4-BE49-F238E27FC236}">
                  <a16:creationId xmlns:a16="http://schemas.microsoft.com/office/drawing/2014/main" id="{4F9A0DF9-68C4-4042-9449-87EB1A74ECA6}"/>
                </a:ext>
              </a:extLst>
            </p:cNvPr>
            <p:cNvSpPr txBox="1"/>
            <p:nvPr/>
          </p:nvSpPr>
          <p:spPr>
            <a:xfrm>
              <a:off x="127153" y="70953"/>
              <a:ext cx="3978707" cy="449301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324"/>
                </a:lnSpc>
              </a:pPr>
              <a:r>
                <a:rPr lang="en-US" sz="1800" b="1" spc="106" dirty="0">
                  <a:solidFill>
                    <a:srgbClr val="90292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ent Marketing</a:t>
              </a:r>
            </a:p>
          </p:txBody>
        </p:sp>
      </p:grpSp>
      <p:sp>
        <p:nvSpPr>
          <p:cNvPr id="20" name="TextBox 15">
            <a:extLst>
              <a:ext uri="{FF2B5EF4-FFF2-40B4-BE49-F238E27FC236}">
                <a16:creationId xmlns:a16="http://schemas.microsoft.com/office/drawing/2014/main" id="{DF126C04-C644-4BB5-959D-A01FA3A5154C}"/>
              </a:ext>
            </a:extLst>
          </p:cNvPr>
          <p:cNvSpPr txBox="1"/>
          <p:nvPr/>
        </p:nvSpPr>
        <p:spPr>
          <a:xfrm>
            <a:off x="5744639" y="2325851"/>
            <a:ext cx="2974607" cy="22292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ng the audience</a:t>
            </a: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ir needs.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ling ideas about the product. 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ble and viral content.</a:t>
            </a:r>
          </a:p>
          <a:p>
            <a:pPr algn="ctr">
              <a:lnSpc>
                <a:spcPts val="2194"/>
              </a:lnSpc>
            </a:pPr>
            <a:endParaRPr lang="en-US" sz="1400" spc="4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194"/>
              </a:lnSpc>
            </a:pPr>
            <a:r>
              <a:rPr lang="en-US" sz="1400" spc="4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s a problem.</a:t>
            </a:r>
          </a:p>
        </p:txBody>
      </p:sp>
    </p:spTree>
    <p:extLst>
      <p:ext uri="{BB962C8B-B14F-4D97-AF65-F5344CB8AC3E}">
        <p14:creationId xmlns:p14="http://schemas.microsoft.com/office/powerpoint/2010/main" val="532850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/>
        </p:nvPicPr>
        <p:blipFill rotWithShape="1">
          <a:blip r:embed="rId2">
            <a:alphaModFix amt="77000"/>
          </a:blip>
          <a:srcRect l="19680" t="24309" r="36336"/>
          <a:stretch/>
        </p:blipFill>
        <p:spPr>
          <a:xfrm>
            <a:off x="-35592" y="-1"/>
            <a:ext cx="4988592" cy="6858000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 rotWithShape="1">
          <a:blip r:embed="rId2">
            <a:alphaModFix amt="77000"/>
          </a:blip>
          <a:srcRect l="17402" t="23891" r="38614"/>
          <a:stretch/>
        </p:blipFill>
        <p:spPr>
          <a:xfrm>
            <a:off x="4953000" y="0"/>
            <a:ext cx="4961171" cy="6858000"/>
          </a:xfrm>
          <a:prstGeom prst="rect">
            <a:avLst/>
          </a:prstGeom>
        </p:spPr>
      </p:pic>
      <p:grpSp>
        <p:nvGrpSpPr>
          <p:cNvPr id="7" name="Group 7"/>
          <p:cNvGrpSpPr/>
          <p:nvPr/>
        </p:nvGrpSpPr>
        <p:grpSpPr>
          <a:xfrm>
            <a:off x="1173715" y="4656329"/>
            <a:ext cx="2569977" cy="1121645"/>
            <a:chOff x="0" y="0"/>
            <a:chExt cx="1103406" cy="481573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103406" cy="481572"/>
            </a:xfrm>
            <a:custGeom>
              <a:avLst/>
              <a:gdLst/>
              <a:ahLst/>
              <a:cxnLst/>
              <a:rect l="l" t="t" r="r" b="b"/>
              <a:pathLst>
                <a:path w="1103406" h="481572">
                  <a:moveTo>
                    <a:pt x="0" y="0"/>
                  </a:moveTo>
                  <a:lnTo>
                    <a:pt x="1103406" y="0"/>
                  </a:lnTo>
                  <a:lnTo>
                    <a:pt x="1103406" y="481572"/>
                  </a:lnTo>
                  <a:lnTo>
                    <a:pt x="0" y="481572"/>
                  </a:lnTo>
                  <a:close/>
                </a:path>
              </a:pathLst>
            </a:custGeom>
            <a:solidFill>
              <a:srgbClr val="494949">
                <a:alpha val="60000"/>
              </a:srgbClr>
            </a:solidFill>
          </p:spPr>
        </p:sp>
      </p:grpSp>
      <p:grpSp>
        <p:nvGrpSpPr>
          <p:cNvPr id="9" name="Group 9"/>
          <p:cNvGrpSpPr/>
          <p:nvPr/>
        </p:nvGrpSpPr>
        <p:grpSpPr>
          <a:xfrm>
            <a:off x="1117338" y="1474200"/>
            <a:ext cx="2569977" cy="354960"/>
            <a:chOff x="0" y="0"/>
            <a:chExt cx="1103406" cy="152400"/>
          </a:xfrm>
          <a:solidFill>
            <a:schemeClr val="bg1"/>
          </a:solidFill>
        </p:grpSpPr>
        <p:sp>
          <p:nvSpPr>
            <p:cNvPr id="10" name="Freeform 10"/>
            <p:cNvSpPr/>
            <p:nvPr/>
          </p:nvSpPr>
          <p:spPr>
            <a:xfrm>
              <a:off x="0" y="0"/>
              <a:ext cx="1103406" cy="152400"/>
            </a:xfrm>
            <a:custGeom>
              <a:avLst/>
              <a:gdLst/>
              <a:ahLst/>
              <a:cxnLst/>
              <a:rect l="l" t="t" r="r" b="b"/>
              <a:pathLst>
                <a:path w="1103406" h="152400">
                  <a:moveTo>
                    <a:pt x="0" y="0"/>
                  </a:moveTo>
                  <a:lnTo>
                    <a:pt x="1103406" y="0"/>
                  </a:lnTo>
                  <a:lnTo>
                    <a:pt x="1103406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</p:spPr>
        </p:sp>
      </p:grpSp>
      <p:sp>
        <p:nvSpPr>
          <p:cNvPr id="11" name="TextBox 11"/>
          <p:cNvSpPr txBox="1"/>
          <p:nvPr/>
        </p:nvSpPr>
        <p:spPr>
          <a:xfrm>
            <a:off x="1241947" y="1517128"/>
            <a:ext cx="2433514" cy="2683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79"/>
              </a:lnSpc>
            </a:pPr>
            <a:r>
              <a:rPr lang="en-US" sz="1800" spc="100" dirty="0">
                <a:latin typeface="Arial" panose="020B0604020202020204" pitchFamily="34" charset="0"/>
                <a:cs typeface="Arial" panose="020B0604020202020204" pitchFamily="34" charset="0"/>
              </a:rPr>
              <a:t>Regular Post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281199" y="4752265"/>
            <a:ext cx="2381365" cy="113729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9"/>
              </a:lnSpc>
            </a:pPr>
            <a:r>
              <a:rPr lang="en-US" sz="1400" b="1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tion: </a:t>
            </a:r>
          </a:p>
          <a:p>
            <a:pPr algn="ctr">
              <a:lnSpc>
                <a:spcPts val="1829"/>
              </a:lnSpc>
            </a:pPr>
            <a:r>
              <a:rPr lang="en-US" sz="1400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ing our new watches collection! Shop now on www.websitexyz.com </a:t>
            </a:r>
          </a:p>
        </p:txBody>
      </p:sp>
      <p:grpSp>
        <p:nvGrpSpPr>
          <p:cNvPr id="13" name="Group 13"/>
          <p:cNvGrpSpPr/>
          <p:nvPr/>
        </p:nvGrpSpPr>
        <p:grpSpPr>
          <a:xfrm>
            <a:off x="5831920" y="3840127"/>
            <a:ext cx="3203330" cy="2228850"/>
            <a:chOff x="0" y="0"/>
            <a:chExt cx="1375333" cy="768046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1375333" cy="768046"/>
            </a:xfrm>
            <a:custGeom>
              <a:avLst/>
              <a:gdLst/>
              <a:ahLst/>
              <a:cxnLst/>
              <a:rect l="l" t="t" r="r" b="b"/>
              <a:pathLst>
                <a:path w="1375333" h="768046">
                  <a:moveTo>
                    <a:pt x="0" y="0"/>
                  </a:moveTo>
                  <a:lnTo>
                    <a:pt x="1375333" y="0"/>
                  </a:lnTo>
                  <a:lnTo>
                    <a:pt x="1375333" y="768046"/>
                  </a:lnTo>
                  <a:lnTo>
                    <a:pt x="0" y="768046"/>
                  </a:lnTo>
                  <a:close/>
                </a:path>
              </a:pathLst>
            </a:custGeom>
            <a:solidFill>
              <a:srgbClr val="494949">
                <a:alpha val="60000"/>
              </a:srgbClr>
            </a:solidFill>
          </p:spPr>
        </p:sp>
      </p:grpSp>
      <p:sp>
        <p:nvSpPr>
          <p:cNvPr id="15" name="TextBox 15"/>
          <p:cNvSpPr txBox="1"/>
          <p:nvPr/>
        </p:nvSpPr>
        <p:spPr>
          <a:xfrm>
            <a:off x="5914148" y="3903501"/>
            <a:ext cx="3038875" cy="205774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9"/>
              </a:lnSpc>
            </a:pPr>
            <a:r>
              <a:rPr lang="en-US" sz="1400" b="1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tion:</a:t>
            </a:r>
          </a:p>
          <a:p>
            <a:pPr algn="ctr">
              <a:lnSpc>
                <a:spcPts val="1829"/>
              </a:lnSpc>
            </a:pPr>
            <a:r>
              <a:rPr lang="en-US" sz="1400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ing our New #Watches Collection! Trendy yet elegant.</a:t>
            </a:r>
          </a:p>
          <a:p>
            <a:pPr algn="ctr">
              <a:lnSpc>
                <a:spcPts val="1829"/>
              </a:lnSpc>
            </a:pPr>
            <a:r>
              <a:rPr lang="en-US" sz="1400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your order online via a secure online payment or Cash on Delivery.</a:t>
            </a:r>
          </a:p>
          <a:p>
            <a:pPr algn="ctr">
              <a:lnSpc>
                <a:spcPts val="1829"/>
              </a:lnSpc>
            </a:pPr>
            <a:r>
              <a:rPr lang="en-US" sz="1400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ng to anywhere in #Spain.</a:t>
            </a:r>
          </a:p>
          <a:p>
            <a:pPr algn="ctr">
              <a:lnSpc>
                <a:spcPts val="1829"/>
              </a:lnSpc>
            </a:pPr>
            <a:endParaRPr lang="en-US" sz="1400" spc="37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829"/>
              </a:lnSpc>
            </a:pPr>
            <a:r>
              <a:rPr lang="en-US" sz="1400" spc="37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p now on www.websitexyz.com #OnlineShopping #Spain</a:t>
            </a:r>
          </a:p>
        </p:txBody>
      </p:sp>
      <p:grpSp>
        <p:nvGrpSpPr>
          <p:cNvPr id="16" name="Group 16"/>
          <p:cNvGrpSpPr/>
          <p:nvPr/>
        </p:nvGrpSpPr>
        <p:grpSpPr>
          <a:xfrm>
            <a:off x="6148597" y="1443626"/>
            <a:ext cx="2569977" cy="354960"/>
            <a:chOff x="0" y="0"/>
            <a:chExt cx="4498557" cy="621331"/>
          </a:xfrm>
          <a:solidFill>
            <a:schemeClr val="bg1"/>
          </a:solidFill>
        </p:grpSpPr>
        <p:grpSp>
          <p:nvGrpSpPr>
            <p:cNvPr id="17" name="Group 17"/>
            <p:cNvGrpSpPr/>
            <p:nvPr/>
          </p:nvGrpSpPr>
          <p:grpSpPr>
            <a:xfrm>
              <a:off x="0" y="0"/>
              <a:ext cx="4498557" cy="621331"/>
              <a:chOff x="0" y="0"/>
              <a:chExt cx="1103406" cy="152400"/>
            </a:xfrm>
            <a:grpFill/>
          </p:grpSpPr>
          <p:sp>
            <p:nvSpPr>
              <p:cNvPr id="18" name="Freeform 18"/>
              <p:cNvSpPr/>
              <p:nvPr/>
            </p:nvSpPr>
            <p:spPr>
              <a:xfrm>
                <a:off x="0" y="0"/>
                <a:ext cx="1103406" cy="152400"/>
              </a:xfrm>
              <a:custGeom>
                <a:avLst/>
                <a:gdLst/>
                <a:ahLst/>
                <a:cxnLst/>
                <a:rect l="l" t="t" r="r" b="b"/>
                <a:pathLst>
                  <a:path w="1103406" h="152400">
                    <a:moveTo>
                      <a:pt x="0" y="0"/>
                    </a:moveTo>
                    <a:lnTo>
                      <a:pt x="1103406" y="0"/>
                    </a:lnTo>
                    <a:lnTo>
                      <a:pt x="1103406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</p:spPr>
          </p:sp>
        </p:grpSp>
        <p:sp>
          <p:nvSpPr>
            <p:cNvPr id="19" name="TextBox 19"/>
            <p:cNvSpPr txBox="1"/>
            <p:nvPr/>
          </p:nvSpPr>
          <p:spPr>
            <a:xfrm>
              <a:off x="119433" y="70952"/>
              <a:ext cx="4259692" cy="469714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179"/>
                </a:lnSpc>
              </a:pPr>
              <a:r>
                <a:rPr lang="en-US" sz="1800" spc="100" dirty="0">
                  <a:latin typeface="Arial" panose="020B0604020202020204" pitchFamily="34" charset="0"/>
                  <a:cs typeface="Arial" panose="020B0604020202020204" pitchFamily="34" charset="0"/>
                </a:rPr>
                <a:t>Optimized Post</a:t>
              </a: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50" y="2443619"/>
            <a:ext cx="7429500" cy="66932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8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one of Voice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7E40276-AEB2-4248-9752-21405875D10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777078" y="3429000"/>
            <a:ext cx="4351844" cy="1098048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Honest</a:t>
            </a:r>
          </a:p>
          <a:p>
            <a:pPr marL="0" indent="0" algn="ctr">
              <a:buNone/>
            </a:pP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 Friendly</a:t>
            </a:r>
          </a:p>
          <a:p>
            <a:pPr marL="0" indent="0" algn="ctr">
              <a:buNone/>
            </a:pP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Helpful</a:t>
            </a:r>
          </a:p>
          <a:p>
            <a:pPr marL="0" indent="0" algn="ctr">
              <a:buNone/>
            </a:pP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Funny</a:t>
            </a:r>
          </a:p>
          <a:p>
            <a:pPr marL="0" indent="0" algn="ctr">
              <a:buNone/>
            </a:pP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Trendy </a:t>
            </a:r>
          </a:p>
        </p:txBody>
      </p:sp>
    </p:spTree>
    <p:extLst>
      <p:ext uri="{BB962C8B-B14F-4D97-AF65-F5344CB8AC3E}">
        <p14:creationId xmlns:p14="http://schemas.microsoft.com/office/powerpoint/2010/main" val="1803714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08075" y="1032993"/>
            <a:ext cx="768985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Why Do People Unfollow Brands on Social Media? </a:t>
            </a:r>
          </a:p>
        </p:txBody>
      </p:sp>
      <p:sp>
        <p:nvSpPr>
          <p:cNvPr id="19" name="Marcador de contenido 2">
            <a:extLst>
              <a:ext uri="{FF2B5EF4-FFF2-40B4-BE49-F238E27FC236}">
                <a16:creationId xmlns:a16="http://schemas.microsoft.com/office/drawing/2014/main" id="{7172E374-1766-41B0-BD0F-6B01F1D2BED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323590" y="4850480"/>
            <a:ext cx="2205037" cy="354012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r">
              <a:spcBef>
                <a:spcPct val="20000"/>
              </a:spcBef>
            </a:pPr>
            <a:r>
              <a:rPr lang="en-US" sz="1083" dirty="0">
                <a:latin typeface="Arial"/>
                <a:cs typeface="Arial"/>
              </a:rPr>
              <a:t>Source: Sproutsocial.co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9E83C1-C864-40A3-B382-9ED06DF246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463"/>
          <a:stretch/>
        </p:blipFill>
        <p:spPr>
          <a:xfrm>
            <a:off x="1936365" y="1944109"/>
            <a:ext cx="5289637" cy="388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63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8493" y="1828120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ontent Marketing Form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AA27BA3-9D54-4033-AA12-E8DE67358962}"/>
              </a:ext>
            </a:extLst>
          </p:cNvPr>
          <p:cNvSpPr/>
          <p:nvPr/>
        </p:nvSpPr>
        <p:spPr>
          <a:xfrm>
            <a:off x="736259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21472B0-AE4E-40FD-8FC1-E5491E12378E}"/>
              </a:ext>
            </a:extLst>
          </p:cNvPr>
          <p:cNvSpPr/>
          <p:nvPr/>
        </p:nvSpPr>
        <p:spPr>
          <a:xfrm>
            <a:off x="1850683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01CA74D-3429-4D4F-BE6B-3F9CF1ED367B}"/>
              </a:ext>
            </a:extLst>
          </p:cNvPr>
          <p:cNvSpPr/>
          <p:nvPr/>
        </p:nvSpPr>
        <p:spPr>
          <a:xfrm>
            <a:off x="2966665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F214FF-4610-482F-9442-33B2D695B3D4}"/>
              </a:ext>
            </a:extLst>
          </p:cNvPr>
          <p:cNvSpPr/>
          <p:nvPr/>
        </p:nvSpPr>
        <p:spPr>
          <a:xfrm>
            <a:off x="5192401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C0D449F-E25E-4D12-AD29-63F60820B6A8}"/>
              </a:ext>
            </a:extLst>
          </p:cNvPr>
          <p:cNvSpPr/>
          <p:nvPr/>
        </p:nvSpPr>
        <p:spPr>
          <a:xfrm>
            <a:off x="4079533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C9FB0FA-4DCF-4D31-BAFA-9A1FBF5DAAB0}"/>
              </a:ext>
            </a:extLst>
          </p:cNvPr>
          <p:cNvSpPr/>
          <p:nvPr/>
        </p:nvSpPr>
        <p:spPr>
          <a:xfrm>
            <a:off x="6305269" y="2933701"/>
            <a:ext cx="967422" cy="940445"/>
          </a:xfrm>
          <a:prstGeom prst="ellipse">
            <a:avLst/>
          </a:prstGeom>
          <a:solidFill>
            <a:srgbClr val="902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2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2341F97-55C0-4397-A71D-DA6F8B353095}"/>
              </a:ext>
            </a:extLst>
          </p:cNvPr>
          <p:cNvSpPr/>
          <p:nvPr/>
        </p:nvSpPr>
        <p:spPr>
          <a:xfrm>
            <a:off x="804008" y="3253880"/>
            <a:ext cx="8319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89F424-D66E-4440-9CD9-4120094729EB}"/>
              </a:ext>
            </a:extLst>
          </p:cNvPr>
          <p:cNvSpPr/>
          <p:nvPr/>
        </p:nvSpPr>
        <p:spPr>
          <a:xfrm>
            <a:off x="1911257" y="3253879"/>
            <a:ext cx="8462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65F84-62D2-409C-A48C-5BD017BA2058}"/>
              </a:ext>
            </a:extLst>
          </p:cNvPr>
          <p:cNvSpPr/>
          <p:nvPr/>
        </p:nvSpPr>
        <p:spPr>
          <a:xfrm>
            <a:off x="3066944" y="3242830"/>
            <a:ext cx="76686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c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C29435-2DC4-4E0D-AF07-B09E006D66DF}"/>
              </a:ext>
            </a:extLst>
          </p:cNvPr>
          <p:cNvSpPr/>
          <p:nvPr/>
        </p:nvSpPr>
        <p:spPr>
          <a:xfrm>
            <a:off x="4025214" y="3254569"/>
            <a:ext cx="10760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graphic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CC53AD-8387-48E6-985A-77930432B625}"/>
              </a:ext>
            </a:extLst>
          </p:cNvPr>
          <p:cNvSpPr/>
          <p:nvPr/>
        </p:nvSpPr>
        <p:spPr>
          <a:xfrm>
            <a:off x="5138082" y="3235116"/>
            <a:ext cx="107605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i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6A76-116E-4B72-896E-D04D1E74A119}"/>
              </a:ext>
            </a:extLst>
          </p:cNvPr>
          <p:cNvSpPr/>
          <p:nvPr/>
        </p:nvSpPr>
        <p:spPr>
          <a:xfrm>
            <a:off x="6405549" y="3135088"/>
            <a:ext cx="7668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Studies</a:t>
            </a:r>
          </a:p>
        </p:txBody>
      </p:sp>
    </p:spTree>
    <p:extLst>
      <p:ext uri="{BB962C8B-B14F-4D97-AF65-F5344CB8AC3E}">
        <p14:creationId xmlns:p14="http://schemas.microsoft.com/office/powerpoint/2010/main" val="48510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>Lucie Guiberd</DisplayName>
        <AccountId>3104</AccountId>
        <AccountType/>
      </UserInfo>
      <UserInfo>
        <DisplayName>Kristina Abraimova</DisplayName>
        <AccountId>3058</AccountId>
        <AccountType/>
      </UserInfo>
      <UserInfo>
        <DisplayName>Aleksandra Zelenevskaia</DisplayName>
        <AccountId>3048</AccountId>
        <AccountType/>
      </UserInfo>
      <UserInfo>
        <DisplayName>Nour Clavé</DisplayName>
        <AccountId>3060</AccountId>
        <AccountType/>
      </UserInfo>
      <UserInfo>
        <DisplayName>Sofija Vukasinovic</DisplayName>
        <AccountId>3043</AccountId>
        <AccountType/>
      </UserInfo>
      <UserInfo>
        <DisplayName>Nadine Laouami</DisplayName>
        <AccountId>3076</AccountId>
        <AccountType/>
      </UserInfo>
      <UserInfo>
        <DisplayName>Margarita Abraimova</DisplayName>
        <AccountId>3091</AccountId>
        <AccountType/>
      </UserInfo>
      <UserInfo>
        <DisplayName>Allison De La Bastida</DisplayName>
        <AccountId>3138</AccountId>
        <AccountType/>
      </UserInfo>
      <UserInfo>
        <DisplayName>Aryna Lava</DisplayName>
        <AccountId>3196</AccountId>
        <AccountType/>
      </UserInfo>
      <UserInfo>
        <DisplayName>Adlei Lleshi</DisplayName>
        <AccountId>3424</AccountId>
        <AccountType/>
      </UserInfo>
      <UserInfo>
        <DisplayName>Adnane Amagroud</DisplayName>
        <AccountId>3505</AccountId>
        <AccountType/>
      </UserInfo>
      <UserInfo>
        <DisplayName>Juliette Joëlle F Hesbeen</DisplayName>
        <AccountId>3410</AccountId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Props1.xml><?xml version="1.0" encoding="utf-8"?>
<ds:datastoreItem xmlns:ds="http://schemas.openxmlformats.org/officeDocument/2006/customXml" ds:itemID="{4C35C55A-61CE-4D2E-9837-FE4C389A03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420</Words>
  <Application>Microsoft Office PowerPoint</Application>
  <PresentationFormat>A4 Paper (210x297 mm)</PresentationFormat>
  <Paragraphs>93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Georgia</vt:lpstr>
      <vt:lpstr>Times New Roman</vt:lpstr>
      <vt:lpstr>Tema de Office</vt:lpstr>
      <vt:lpstr>Diapositiva de think-cell</vt:lpstr>
      <vt:lpstr>PowerPoint Presentation</vt:lpstr>
      <vt:lpstr>PowerPoint Presentation</vt:lpstr>
      <vt:lpstr>Content Marketing Strategy </vt:lpstr>
      <vt:lpstr>Content Strategy Funnel</vt:lpstr>
      <vt:lpstr>PowerPoint Presentation</vt:lpstr>
      <vt:lpstr>PowerPoint Presentation</vt:lpstr>
      <vt:lpstr>Tone of Voice </vt:lpstr>
      <vt:lpstr>Why Do People Unfollow Brands on Social Media? </vt:lpstr>
      <vt:lpstr>Content Marketing Forms</vt:lpstr>
      <vt:lpstr>Posting Strategy</vt:lpstr>
      <vt:lpstr>Monthly Content Calendar</vt:lpstr>
      <vt:lpstr>Content Creation Tips and Tools</vt:lpstr>
      <vt:lpstr>Getting Started with Content Creation</vt:lpstr>
      <vt:lpstr>PowerPoint Presentation</vt:lpstr>
      <vt:lpstr>PowerPoint Presentation</vt:lpstr>
      <vt:lpstr>Use Copyright-free Photos</vt:lpstr>
      <vt:lpstr>Use Copyright-free Photos</vt:lpstr>
      <vt:lpstr>Use Copyright-free Photos</vt:lpstr>
      <vt:lpstr>Create Stunning Images Yourself without  Design Skills </vt:lpstr>
      <vt:lpstr>PowerPoint Presentation</vt:lpstr>
      <vt:lpstr>Video Editing Mobile Application</vt:lpstr>
      <vt:lpstr>PowerPoint Presentation</vt:lpstr>
      <vt:lpstr>Shorten your Link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43</cp:revision>
  <dcterms:created xsi:type="dcterms:W3CDTF">2016-07-11T04:31:49Z</dcterms:created>
  <dcterms:modified xsi:type="dcterms:W3CDTF">2023-12-06T14:5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  <property fmtid="{D5CDD505-2E9C-101B-9397-08002B2CF9AE}" pid="8" name="MediaServiceImageTags">
    <vt:lpwstr/>
  </property>
</Properties>
</file>